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6" r:id="rId1"/>
    <p:sldMasterId id="2147483704" r:id="rId2"/>
  </p:sldMasterIdLst>
  <p:notesMasterIdLst>
    <p:notesMasterId r:id="rId9"/>
  </p:notesMasterIdLst>
  <p:handoutMasterIdLst>
    <p:handoutMasterId r:id="rId10"/>
  </p:handoutMasterIdLst>
  <p:sldIdLst>
    <p:sldId id="846" r:id="rId3"/>
    <p:sldId id="853" r:id="rId4"/>
    <p:sldId id="854" r:id="rId5"/>
    <p:sldId id="850" r:id="rId6"/>
    <p:sldId id="851" r:id="rId7"/>
    <p:sldId id="852" r:id="rId8"/>
  </p:sldIdLst>
  <p:sldSz cx="12192000" cy="6858000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HeliosCondC" panose="00000500000000000000" pitchFamily="50" charset="0"/>
      <p:regular r:id="rId15"/>
      <p:bold r:id="rId16"/>
      <p:italic r:id="rId17"/>
      <p:boldItalic r:id="rId18"/>
    </p:embeddedFont>
    <p:embeddedFont>
      <p:font typeface="Montserrat" panose="00000500000000000000" pitchFamily="50" charset="-52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459" userDrawn="1">
          <p15:clr>
            <a:srgbClr val="A4A3A4"/>
          </p15:clr>
        </p15:guide>
        <p15:guide id="7" orient="horz" pos="2850" userDrawn="1">
          <p15:clr>
            <a:srgbClr val="A4A3A4"/>
          </p15:clr>
        </p15:guide>
        <p15:guide id="14" pos="4770" userDrawn="1">
          <p15:clr>
            <a:srgbClr val="A4A3A4"/>
          </p15:clr>
        </p15:guide>
        <p15:guide id="16" pos="3795" userDrawn="1">
          <p15:clr>
            <a:srgbClr val="A4A3A4"/>
          </p15:clr>
        </p15:guide>
        <p15:guide id="21" pos="7015" userDrawn="1">
          <p15:clr>
            <a:srgbClr val="A4A3A4"/>
          </p15:clr>
        </p15:guide>
        <p15:guide id="24" pos="3069" userDrawn="1">
          <p15:clr>
            <a:srgbClr val="A4A3A4"/>
          </p15:clr>
        </p15:guide>
        <p15:guide id="25" orient="horz" pos="867" userDrawn="1">
          <p15:clr>
            <a:srgbClr val="A4A3A4"/>
          </p15:clr>
        </p15:guide>
        <p15:guide id="27" orient="horz" pos="686" userDrawn="1">
          <p15:clr>
            <a:srgbClr val="A4A3A4"/>
          </p15:clr>
        </p15:guide>
        <p15:guide id="30" orient="horz" pos="187" userDrawn="1">
          <p15:clr>
            <a:srgbClr val="A4A3A4"/>
          </p15:clr>
        </p15:guide>
        <p15:guide id="31" orient="horz" pos="206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авыденко Алексей" initials="ДА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E3F3"/>
    <a:srgbClr val="00091F"/>
    <a:srgbClr val="C00000"/>
    <a:srgbClr val="FFFFFF"/>
    <a:srgbClr val="FFFFF7"/>
    <a:srgbClr val="13A160"/>
    <a:srgbClr val="008D34"/>
    <a:srgbClr val="8FAADC"/>
    <a:srgbClr val="F7D941"/>
    <a:srgbClr val="0ED1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92" autoAdjust="0"/>
    <p:restoredTop sz="93585" autoAdjust="0"/>
  </p:normalViewPr>
  <p:slideViewPr>
    <p:cSldViewPr snapToGrid="0">
      <p:cViewPr varScale="1">
        <p:scale>
          <a:sx n="114" d="100"/>
          <a:sy n="114" d="100"/>
        </p:scale>
        <p:origin x="726" y="96"/>
      </p:cViewPr>
      <p:guideLst>
        <p:guide pos="1459"/>
        <p:guide orient="horz" pos="2850"/>
        <p:guide pos="4770"/>
        <p:guide pos="3795"/>
        <p:guide pos="7015"/>
        <p:guide pos="3069"/>
        <p:guide orient="horz" pos="867"/>
        <p:guide orient="horz" pos="686"/>
        <p:guide orient="horz" pos="187"/>
        <p:guide orient="horz" pos="206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font" Target="fonts/font11.fntdata"/><Relationship Id="rId7" Type="http://schemas.openxmlformats.org/officeDocument/2006/relationships/slide" Target="slides/slide5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font" Target="fonts/font1.fntdata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font" Target="fonts/font5.fntdata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99FCA9-131A-4DF5-9AEB-1E113DB8761D}" type="datetimeFigureOut">
              <a:rPr lang="ru-RU" smtClean="0">
                <a:latin typeface="HeliosCondC" pitchFamily="2" charset="0"/>
              </a:rPr>
              <a:t>30.01.2021</a:t>
            </a:fld>
            <a:endParaRPr lang="ru-RU" dirty="0">
              <a:latin typeface="HeliosCondC" pitchFamily="2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HeliosCondC" pitchFamily="2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FF74FE-6954-4B70-A32B-D30C89EB5C12}" type="slidenum">
              <a:rPr lang="ru-RU" smtClean="0">
                <a:latin typeface="HeliosCondC" pitchFamily="2" charset="0"/>
              </a:rPr>
              <a:t>‹#›</a:t>
            </a:fld>
            <a:endParaRPr lang="ru-RU" dirty="0">
              <a:latin typeface="HeliosCondC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92641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8D594AEB-02E3-42DB-A4AD-B6793BD8DBE0}" type="datetimeFigureOut">
              <a:rPr lang="ru-RU" smtClean="0"/>
              <a:pPr/>
              <a:t>30.0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HeliosCondC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HeliosCondC" pitchFamily="2" charset="0"/>
              </a:defRPr>
            </a:lvl1pPr>
          </a:lstStyle>
          <a:p>
            <a:fld id="{03E4EA76-DF72-4876-A1A9-8232E1ACACC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5974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HeliosCondC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Montserrat" pitchFamily="2" charset="77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-10028" y="301735"/>
            <a:ext cx="11995088" cy="792089"/>
          </a:xfrm>
          <a:custGeom>
            <a:avLst/>
            <a:gdLst>
              <a:gd name="connsiteX0" fmla="*/ 0 w 11721711"/>
              <a:gd name="connsiteY0" fmla="*/ 792089 h 792089"/>
              <a:gd name="connsiteX1" fmla="*/ 449447 w 11721711"/>
              <a:gd name="connsiteY1" fmla="*/ 0 h 792089"/>
              <a:gd name="connsiteX2" fmla="*/ 11721711 w 11721711"/>
              <a:gd name="connsiteY2" fmla="*/ 0 h 792089"/>
              <a:gd name="connsiteX3" fmla="*/ 11272264 w 11721711"/>
              <a:gd name="connsiteY3" fmla="*/ 792089 h 792089"/>
              <a:gd name="connsiteX4" fmla="*/ 0 w 11721711"/>
              <a:gd name="connsiteY4" fmla="*/ 792089 h 792089"/>
              <a:gd name="connsiteX0" fmla="*/ 0 w 11988701"/>
              <a:gd name="connsiteY0" fmla="*/ 792089 h 792089"/>
              <a:gd name="connsiteX1" fmla="*/ 449447 w 11988701"/>
              <a:gd name="connsiteY1" fmla="*/ 0 h 792089"/>
              <a:gd name="connsiteX2" fmla="*/ 11721711 w 11988701"/>
              <a:gd name="connsiteY2" fmla="*/ 0 h 792089"/>
              <a:gd name="connsiteX3" fmla="*/ 11988701 w 11988701"/>
              <a:gd name="connsiteY3" fmla="*/ 792089 h 792089"/>
              <a:gd name="connsiteX4" fmla="*/ 0 w 11988701"/>
              <a:gd name="connsiteY4" fmla="*/ 792089 h 792089"/>
              <a:gd name="connsiteX0" fmla="*/ 0 w 11995088"/>
              <a:gd name="connsiteY0" fmla="*/ 792089 h 792089"/>
              <a:gd name="connsiteX1" fmla="*/ 449447 w 11995088"/>
              <a:gd name="connsiteY1" fmla="*/ 0 h 792089"/>
              <a:gd name="connsiteX2" fmla="*/ 11995088 w 11995088"/>
              <a:gd name="connsiteY2" fmla="*/ 0 h 792089"/>
              <a:gd name="connsiteX3" fmla="*/ 11988701 w 11995088"/>
              <a:gd name="connsiteY3" fmla="*/ 792089 h 792089"/>
              <a:gd name="connsiteX4" fmla="*/ 0 w 11995088"/>
              <a:gd name="connsiteY4" fmla="*/ 792089 h 792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995088" h="792089">
                <a:moveTo>
                  <a:pt x="0" y="792089"/>
                </a:moveTo>
                <a:lnTo>
                  <a:pt x="449447" y="0"/>
                </a:lnTo>
                <a:lnTo>
                  <a:pt x="11995088" y="0"/>
                </a:lnTo>
                <a:lnTo>
                  <a:pt x="11988701" y="792089"/>
                </a:lnTo>
                <a:lnTo>
                  <a:pt x="0" y="792089"/>
                </a:lnTo>
                <a:close/>
              </a:path>
            </a:pathLst>
          </a:cu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HeliosCondC" pitchFamily="2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6705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885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64647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127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8ACE6E5-E838-2D46-BF40-F5E5F1B6F5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416620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8ACE6E5-E838-2D46-BF40-F5E5F1B6F5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304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4.jpg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2661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2"/>
          <p:cNvSpPr txBox="1">
            <a:spLocks/>
          </p:cNvSpPr>
          <p:nvPr/>
        </p:nvSpPr>
        <p:spPr>
          <a:xfrm>
            <a:off x="4550567" y="2726176"/>
            <a:ext cx="7641433" cy="193503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/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жедневный мониторинг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остояния пациентов </a:t>
            </a:r>
            <a:b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в системе РЛПК</a:t>
            </a:r>
          </a:p>
        </p:txBody>
      </p:sp>
      <p:pic>
        <p:nvPicPr>
          <p:cNvPr id="9" name="Рисунок 8" descr="Изображение выглядит как текст, коллекция картинок&#10;&#10;Автоматически созданное описание">
            <a:extLst>
              <a:ext uri="{FF2B5EF4-FFF2-40B4-BE49-F238E27FC236}">
                <a16:creationId xmlns:a16="http://schemas.microsoft.com/office/drawing/2014/main" id="{AF796D07-B36C-44A1-8988-9D6EC7BA084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675" y="2526553"/>
            <a:ext cx="4116892" cy="2334278"/>
          </a:xfrm>
          <a:prstGeom prst="rect">
            <a:avLst/>
          </a:prstGeom>
        </p:spPr>
      </p:pic>
      <p:sp>
        <p:nvSpPr>
          <p:cNvPr id="11" name="Пятиугольник 11">
            <a:extLst>
              <a:ext uri="{FF2B5EF4-FFF2-40B4-BE49-F238E27FC236}">
                <a16:creationId xmlns:a16="http://schemas.microsoft.com/office/drawing/2014/main" id="{12A024E7-A847-4046-A299-357119687EBD}"/>
              </a:ext>
            </a:extLst>
          </p:cNvPr>
          <p:cNvSpPr/>
          <p:nvPr/>
        </p:nvSpPr>
        <p:spPr>
          <a:xfrm>
            <a:off x="0" y="312188"/>
            <a:ext cx="2982483" cy="561469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6AA60D6A-6DAA-49B1-9416-2E0C996A8E85}"/>
              </a:ext>
            </a:extLst>
          </p:cNvPr>
          <p:cNvSpPr txBox="1">
            <a:spLocks/>
          </p:cNvSpPr>
          <p:nvPr/>
        </p:nvSpPr>
        <p:spPr>
          <a:xfrm>
            <a:off x="929869" y="372009"/>
            <a:ext cx="2291737" cy="289710"/>
          </a:xfrm>
          <a:prstGeom prst="rect">
            <a:avLst/>
          </a:prstGeom>
        </p:spPr>
        <p:txBody>
          <a:bodyPr/>
          <a:lstStyle>
            <a:lvl1pPr algn="ctr" defTabSz="2438645" rtl="0" eaLnBrk="1" latinLnBrk="0" hangingPunct="1">
              <a:spcBef>
                <a:spcPct val="0"/>
              </a:spcBef>
              <a:buNone/>
              <a:defRPr sz="117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  <a:tabLst>
                <a:tab pos="3137954" algn="l"/>
                <a:tab pos="4864238" algn="l"/>
              </a:tabLst>
            </a:pPr>
            <a:r>
              <a:rPr lang="ru-RU" sz="16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28886298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322001" y="546511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ст отделения стационара</a:t>
            </a:r>
            <a:endParaRPr lang="ru-RU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pic>
        <p:nvPicPr>
          <p:cNvPr id="30722" name="Picture 2" descr="C:\Users\LANS_2\Desktop\WhatsApp Image 2021-01-29 at 18.28.19.jpe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320306"/>
            <a:ext cx="7498080" cy="3225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020956" y="3450213"/>
            <a:ext cx="2957921" cy="5685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ваем Пост отделения стационара </a:t>
            </a:r>
          </a:p>
        </p:txBody>
      </p:sp>
      <p:pic>
        <p:nvPicPr>
          <p:cNvPr id="307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5" y="4674608"/>
            <a:ext cx="10915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551E8CF-080D-4D94-B8CD-DE280779B410}"/>
              </a:ext>
            </a:extLst>
          </p:cNvPr>
          <p:cNvGrpSpPr/>
          <p:nvPr/>
        </p:nvGrpSpPr>
        <p:grpSpPr>
          <a:xfrm>
            <a:off x="5715335" y="3066356"/>
            <a:ext cx="761329" cy="568592"/>
            <a:chOff x="5184332" y="3028048"/>
            <a:chExt cx="761329" cy="568592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5184332" y="3028048"/>
              <a:ext cx="761329" cy="568592"/>
              <a:chOff x="42164" y="3802756"/>
              <a:chExt cx="769294" cy="590718"/>
            </a:xfrm>
          </p:grpSpPr>
          <p:sp>
            <p:nvSpPr>
              <p:cNvPr id="8" name="Овал 7">
                <a:extLst>
                  <a:ext uri="{FF2B5EF4-FFF2-40B4-BE49-F238E27FC236}">
                    <a16:creationId xmlns:a16="http://schemas.microsoft.com/office/drawing/2014/main" id="{AD8FD644-6D7D-43DA-ADA7-9426047C319B}"/>
                  </a:ext>
                </a:extLst>
              </p:cNvPr>
              <p:cNvSpPr/>
              <p:nvPr/>
            </p:nvSpPr>
            <p:spPr>
              <a:xfrm>
                <a:off x="42164" y="3802756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3EA449A-D453-4C5F-A7E6-501E8780CE4E}"/>
                  </a:ext>
                </a:extLst>
              </p:cNvPr>
              <p:cNvSpPr txBox="1"/>
              <p:nvPr/>
            </p:nvSpPr>
            <p:spPr>
              <a:xfrm>
                <a:off x="189145" y="3904038"/>
                <a:ext cx="622313" cy="3517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</a:t>
                </a:r>
              </a:p>
            </p:txBody>
          </p:sp>
        </p:grpSp>
        <p:sp>
          <p:nvSpPr>
            <p:cNvPr id="10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13943733">
              <a:off x="5625669" y="3004982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DA1E6A77-432B-4399-B5D4-FF2A5C5D692C}"/>
              </a:ext>
            </a:extLst>
          </p:cNvPr>
          <p:cNvGrpSpPr/>
          <p:nvPr/>
        </p:nvGrpSpPr>
        <p:grpSpPr>
          <a:xfrm>
            <a:off x="2611686" y="5325606"/>
            <a:ext cx="842770" cy="568592"/>
            <a:chOff x="2611686" y="5182993"/>
            <a:chExt cx="842770" cy="568592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2656650" y="5182993"/>
              <a:ext cx="797806" cy="568592"/>
              <a:chOff x="42164" y="3802758"/>
              <a:chExt cx="806152" cy="590718"/>
            </a:xfrm>
          </p:grpSpPr>
          <p:sp>
            <p:nvSpPr>
              <p:cNvPr id="12" name="Овал 11">
                <a:extLst>
                  <a:ext uri="{FF2B5EF4-FFF2-40B4-BE49-F238E27FC236}">
                    <a16:creationId xmlns:a16="http://schemas.microsoft.com/office/drawing/2014/main" id="{AD8FD644-6D7D-43DA-ADA7-9426047C319B}"/>
                  </a:ext>
                </a:extLst>
              </p:cNvPr>
              <p:cNvSpPr/>
              <p:nvPr/>
            </p:nvSpPr>
            <p:spPr>
              <a:xfrm>
                <a:off x="42164" y="3802758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3EA449A-D453-4C5F-A7E6-501E8780CE4E}"/>
                  </a:ext>
                </a:extLst>
              </p:cNvPr>
              <p:cNvSpPr txBox="1"/>
              <p:nvPr/>
            </p:nvSpPr>
            <p:spPr>
              <a:xfrm>
                <a:off x="226003" y="3902285"/>
                <a:ext cx="622313" cy="3517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</a:p>
            </p:txBody>
          </p:sp>
        </p:grpSp>
        <p:sp>
          <p:nvSpPr>
            <p:cNvPr id="14" name="Стрелка: вниз 29">
              <a:extLst>
                <a:ext uri="{FF2B5EF4-FFF2-40B4-BE49-F238E27FC236}">
                  <a16:creationId xmlns:a16="http://schemas.microsoft.com/office/drawing/2014/main" id="{24E1659C-FF58-4A57-AC38-B0FDC8772F32}"/>
                </a:ext>
              </a:extLst>
            </p:cNvPr>
            <p:cNvSpPr/>
            <p:nvPr/>
          </p:nvSpPr>
          <p:spPr>
            <a:xfrm rot="3138007">
              <a:off x="2703029" y="5478274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72E8C1DA-ECF9-4888-B2F8-8464705EE7DD}"/>
              </a:ext>
            </a:extLst>
          </p:cNvPr>
          <p:cNvSpPr/>
          <p:nvPr/>
        </p:nvSpPr>
        <p:spPr>
          <a:xfrm>
            <a:off x="447675" y="4694224"/>
            <a:ext cx="11087187" cy="1792917"/>
          </a:xfrm>
          <a:prstGeom prst="roundRect">
            <a:avLst>
              <a:gd name="adj" fmla="val 4969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60E09929-78D0-4F2A-92F1-B5216A5495E2}"/>
              </a:ext>
            </a:extLst>
          </p:cNvPr>
          <p:cNvSpPr/>
          <p:nvPr/>
        </p:nvSpPr>
        <p:spPr>
          <a:xfrm>
            <a:off x="447675" y="1295539"/>
            <a:ext cx="11087187" cy="3277628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4157320" y="4753780"/>
            <a:ext cx="3481032" cy="64942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3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ходим нужного пациента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кликаем 2 раза по строке с нужным пациентом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FCFF587-6061-4904-B77D-C7F3DB1CD0D5}"/>
              </a:ext>
            </a:extLst>
          </p:cNvPr>
          <p:cNvSpPr txBox="1"/>
          <p:nvPr/>
        </p:nvSpPr>
        <p:spPr>
          <a:xfrm>
            <a:off x="2030136" y="5944961"/>
            <a:ext cx="17668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/>
              <a:t>ИВАНОВ ИВАН ИВАНОВИЧ</a:t>
            </a:r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C819E668-B543-4AB9-8B70-4E220EA9948A}"/>
              </a:ext>
            </a:extLst>
          </p:cNvPr>
          <p:cNvSpPr/>
          <p:nvPr/>
        </p:nvSpPr>
        <p:spPr>
          <a:xfrm>
            <a:off x="942160" y="3156025"/>
            <a:ext cx="441397" cy="341632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DC2830D7-ECBF-44A1-9D06-DC03EE8585E4}"/>
              </a:ext>
            </a:extLst>
          </p:cNvPr>
          <p:cNvGrpSpPr/>
          <p:nvPr/>
        </p:nvGrpSpPr>
        <p:grpSpPr>
          <a:xfrm>
            <a:off x="1438629" y="3449923"/>
            <a:ext cx="656672" cy="590718"/>
            <a:chOff x="8093960" y="3601299"/>
            <a:chExt cx="656672" cy="590718"/>
          </a:xfrm>
        </p:grpSpPr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E9E5E43C-07F0-4EB5-9A7D-11AA093BD1D2}"/>
                </a:ext>
              </a:extLst>
            </p:cNvPr>
            <p:cNvSpPr/>
            <p:nvPr/>
          </p:nvSpPr>
          <p:spPr>
            <a:xfrm>
              <a:off x="8100392" y="3601299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Стрелка: вниз 29">
              <a:extLst>
                <a:ext uri="{FF2B5EF4-FFF2-40B4-BE49-F238E27FC236}">
                  <a16:creationId xmlns:a16="http://schemas.microsoft.com/office/drawing/2014/main" id="{7FC7409F-7DAB-4FA2-A7AB-954E7CBEA4B5}"/>
                </a:ext>
              </a:extLst>
            </p:cNvPr>
            <p:cNvSpPr/>
            <p:nvPr/>
          </p:nvSpPr>
          <p:spPr>
            <a:xfrm rot="7475064">
              <a:off x="8144286" y="3635898"/>
              <a:ext cx="152132" cy="252784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31E18C5-AFF0-40C7-B9CA-3317A0030042}"/>
                </a:ext>
              </a:extLst>
            </p:cNvPr>
            <p:cNvSpPr txBox="1"/>
            <p:nvPr/>
          </p:nvSpPr>
          <p:spPr>
            <a:xfrm>
              <a:off x="8275464" y="3729128"/>
              <a:ext cx="30009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sp>
        <p:nvSpPr>
          <p:cNvPr id="27" name="Прямоугольник: скругленные углы 15">
            <a:extLst>
              <a:ext uri="{FF2B5EF4-FFF2-40B4-BE49-F238E27FC236}">
                <a16:creationId xmlns:a16="http://schemas.microsoft.com/office/drawing/2014/main" id="{226EEEE6-E9F1-4790-B588-02BC55CB30C3}"/>
              </a:ext>
            </a:extLst>
          </p:cNvPr>
          <p:cNvSpPr/>
          <p:nvPr/>
        </p:nvSpPr>
        <p:spPr>
          <a:xfrm>
            <a:off x="2130923" y="3932247"/>
            <a:ext cx="1970959" cy="50314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ходим в интерфейс МО</a:t>
            </a: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5B963E28-B36A-4572-A057-9EFD5B682C32}"/>
              </a:ext>
            </a:extLst>
          </p:cNvPr>
          <p:cNvGrpSpPr/>
          <p:nvPr/>
        </p:nvGrpSpPr>
        <p:grpSpPr>
          <a:xfrm>
            <a:off x="8322366" y="1470185"/>
            <a:ext cx="3040959" cy="1015663"/>
            <a:chOff x="7487224" y="1302405"/>
            <a:chExt cx="3040959" cy="1015663"/>
          </a:xfrm>
        </p:grpSpPr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9530D1E3-7F07-46B4-AFAB-1A94C112F7B2}"/>
                </a:ext>
              </a:extLst>
            </p:cNvPr>
            <p:cNvSpPr/>
            <p:nvPr/>
          </p:nvSpPr>
          <p:spPr>
            <a:xfrm>
              <a:off x="7487224" y="1356950"/>
              <a:ext cx="3040959" cy="959861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787B93A-EC62-49E0-95E5-6EF3BC8FD501}"/>
                </a:ext>
              </a:extLst>
            </p:cNvPr>
            <p:cNvSpPr txBox="1"/>
            <p:nvPr/>
          </p:nvSpPr>
          <p:spPr>
            <a:xfrm>
              <a:off x="7647393" y="1302405"/>
              <a:ext cx="37605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>
                  <a:solidFill>
                    <a:srgbClr val="C00000"/>
                  </a:solidFill>
                </a:rPr>
                <a:t>!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22FC208-CBE5-4551-99C6-80C788332DE7}"/>
                </a:ext>
              </a:extLst>
            </p:cNvPr>
            <p:cNvSpPr txBox="1"/>
            <p:nvPr/>
          </p:nvSpPr>
          <p:spPr>
            <a:xfrm>
              <a:off x="8089345" y="1429911"/>
              <a:ext cx="2340000" cy="73866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окументе отражаем данные состояния пациента ежедневно, </a:t>
              </a:r>
              <a:b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дальнейшем эти данные будут переданы в Федеральный регистр</a:t>
              </a:r>
            </a:p>
          </p:txBody>
        </p:sp>
      </p:grpSp>
      <p:sp>
        <p:nvSpPr>
          <p:cNvPr id="32" name="Номер слайда 10">
            <a:extLst>
              <a:ext uri="{FF2B5EF4-FFF2-40B4-BE49-F238E27FC236}">
                <a16:creationId xmlns:a16="http://schemas.microsoft.com/office/drawing/2014/main" id="{9CC406CD-4BB9-405E-AEA3-EFF6BF811644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84231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EC84DB97-835C-4466-BCA8-35AB1EF429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770" y="1205473"/>
            <a:ext cx="5847600" cy="4009335"/>
          </a:xfrm>
          <a:prstGeom prst="rect">
            <a:avLst/>
          </a:prstGeom>
        </p:spPr>
      </p:pic>
      <p:graphicFrame>
        <p:nvGraphicFramePr>
          <p:cNvPr id="14" name="Объект 13" hidden="1">
            <a:extLst>
              <a:ext uri="{FF2B5EF4-FFF2-40B4-BE49-F238E27FC236}">
                <a16:creationId xmlns:a16="http://schemas.microsoft.com/office/drawing/2014/main" id="{7EB71746-E2A6-4C6B-AC27-8641CB53E2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14" name="Объект 13" hidden="1">
                        <a:extLst>
                          <a:ext uri="{FF2B5EF4-FFF2-40B4-BE49-F238E27FC236}">
                            <a16:creationId xmlns:a16="http://schemas.microsoft.com/office/drawing/2014/main" id="{7EB71746-E2A6-4C6B-AC27-8641CB53E2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255804" y="525039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Ежедневный мониторинг пациента в системе РЛПК</a:t>
            </a:r>
          </a:p>
        </p:txBody>
      </p:sp>
      <p:sp>
        <p:nvSpPr>
          <p:cNvPr id="11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8345965" y="2553036"/>
            <a:ext cx="3284372" cy="75353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5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рать аппарат О2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справочника МО (необходимо заполнить заранее см. инструкцию пользователя)</a:t>
            </a: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2446BE8B-2D13-40E7-9F08-AE752F2EFA53}"/>
              </a:ext>
            </a:extLst>
          </p:cNvPr>
          <p:cNvSpPr/>
          <p:nvPr/>
        </p:nvSpPr>
        <p:spPr>
          <a:xfrm>
            <a:off x="2250606" y="1197096"/>
            <a:ext cx="5884339" cy="4017712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F609C75F-48FF-4614-ACFC-9AA9D51AF8E0}"/>
              </a:ext>
            </a:extLst>
          </p:cNvPr>
          <p:cNvGrpSpPr/>
          <p:nvPr/>
        </p:nvGrpSpPr>
        <p:grpSpPr>
          <a:xfrm>
            <a:off x="1546850" y="3930603"/>
            <a:ext cx="700017" cy="568592"/>
            <a:chOff x="668556" y="4305948"/>
            <a:chExt cx="700017" cy="568592"/>
          </a:xfrm>
        </p:grpSpPr>
        <p:grpSp>
          <p:nvGrpSpPr>
            <p:cNvPr id="66" name="Группа 65">
              <a:extLst>
                <a:ext uri="{FF2B5EF4-FFF2-40B4-BE49-F238E27FC236}">
                  <a16:creationId xmlns:a16="http://schemas.microsoft.com/office/drawing/2014/main" id="{1C8A896F-2241-4EBB-B51D-2D7333334FFC}"/>
                </a:ext>
              </a:extLst>
            </p:cNvPr>
            <p:cNvGrpSpPr/>
            <p:nvPr/>
          </p:nvGrpSpPr>
          <p:grpSpPr>
            <a:xfrm>
              <a:off x="668556" y="4305948"/>
              <a:ext cx="643508" cy="568592"/>
              <a:chOff x="225314" y="3701452"/>
              <a:chExt cx="650240" cy="590718"/>
            </a:xfrm>
          </p:grpSpPr>
          <p:sp>
            <p:nvSpPr>
              <p:cNvPr id="68" name="Овал 67">
                <a:extLst>
                  <a:ext uri="{FF2B5EF4-FFF2-40B4-BE49-F238E27FC236}">
                    <a16:creationId xmlns:a16="http://schemas.microsoft.com/office/drawing/2014/main" id="{A3634848-248B-4051-A5D4-1DCD2CEE4D77}"/>
                  </a:ext>
                </a:extLst>
              </p:cNvPr>
              <p:cNvSpPr/>
              <p:nvPr/>
            </p:nvSpPr>
            <p:spPr>
              <a:xfrm>
                <a:off x="225314" y="3701452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CF9540F9-D866-40E2-8121-9C990878C234}"/>
                  </a:ext>
                </a:extLst>
              </p:cNvPr>
              <p:cNvSpPr txBox="1"/>
              <p:nvPr/>
            </p:nvSpPr>
            <p:spPr>
              <a:xfrm>
                <a:off x="399957" y="3820947"/>
                <a:ext cx="300095" cy="3517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  <p:sp>
          <p:nvSpPr>
            <p:cNvPr id="67" name="Стрелка: вниз 29">
              <a:extLst>
                <a:ext uri="{FF2B5EF4-FFF2-40B4-BE49-F238E27FC236}">
                  <a16:creationId xmlns:a16="http://schemas.microsoft.com/office/drawing/2014/main" id="{66296812-43EB-44AF-91E3-7321C808FF5D}"/>
                </a:ext>
              </a:extLst>
            </p:cNvPr>
            <p:cNvSpPr/>
            <p:nvPr/>
          </p:nvSpPr>
          <p:spPr>
            <a:xfrm rot="13943733">
              <a:off x="1144243" y="4265116"/>
              <a:ext cx="132074" cy="316587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0" name="Прямоугольник: скругленные углы 15">
            <a:extLst>
              <a:ext uri="{FF2B5EF4-FFF2-40B4-BE49-F238E27FC236}">
                <a16:creationId xmlns:a16="http://schemas.microsoft.com/office/drawing/2014/main" id="{5C8019E6-7B6A-48B5-8358-715D7D651D60}"/>
              </a:ext>
            </a:extLst>
          </p:cNvPr>
          <p:cNvSpPr/>
          <p:nvPr/>
        </p:nvSpPr>
        <p:spPr>
          <a:xfrm>
            <a:off x="409989" y="2939088"/>
            <a:ext cx="1800824" cy="5685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4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ть новую запись</a:t>
            </a:r>
          </a:p>
        </p:txBody>
      </p:sp>
      <p:pic>
        <p:nvPicPr>
          <p:cNvPr id="71" name="Рисунок 70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F5DCEE0E-F58C-46EB-932B-F758D7CCF5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7084" y="5344415"/>
            <a:ext cx="4833796" cy="111328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EAD134AA-2F12-42AC-8A26-3884AC88F532}"/>
              </a:ext>
            </a:extLst>
          </p:cNvPr>
          <p:cNvSpPr/>
          <p:nvPr/>
        </p:nvSpPr>
        <p:spPr>
          <a:xfrm>
            <a:off x="2406063" y="3725721"/>
            <a:ext cx="552290" cy="173434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843C842D-413D-47DF-A267-251B89449F87}"/>
              </a:ext>
            </a:extLst>
          </p:cNvPr>
          <p:cNvGrpSpPr/>
          <p:nvPr/>
        </p:nvGrpSpPr>
        <p:grpSpPr>
          <a:xfrm>
            <a:off x="4868911" y="4281734"/>
            <a:ext cx="643508" cy="669375"/>
            <a:chOff x="668556" y="4205165"/>
            <a:chExt cx="643508" cy="669375"/>
          </a:xfrm>
        </p:grpSpPr>
        <p:grpSp>
          <p:nvGrpSpPr>
            <p:cNvPr id="73" name="Группа 72">
              <a:extLst>
                <a:ext uri="{FF2B5EF4-FFF2-40B4-BE49-F238E27FC236}">
                  <a16:creationId xmlns:a16="http://schemas.microsoft.com/office/drawing/2014/main" id="{BCFF37B5-1CD1-4422-BE75-3447E7E0F7CF}"/>
                </a:ext>
              </a:extLst>
            </p:cNvPr>
            <p:cNvGrpSpPr/>
            <p:nvPr/>
          </p:nvGrpSpPr>
          <p:grpSpPr>
            <a:xfrm>
              <a:off x="668556" y="4305948"/>
              <a:ext cx="643508" cy="568592"/>
              <a:chOff x="225314" y="3701452"/>
              <a:chExt cx="650240" cy="590718"/>
            </a:xfrm>
          </p:grpSpPr>
          <p:sp>
            <p:nvSpPr>
              <p:cNvPr id="75" name="Овал 74">
                <a:extLst>
                  <a:ext uri="{FF2B5EF4-FFF2-40B4-BE49-F238E27FC236}">
                    <a16:creationId xmlns:a16="http://schemas.microsoft.com/office/drawing/2014/main" id="{8355AEB1-DB79-4387-83DA-5EC6D098C5E1}"/>
                  </a:ext>
                </a:extLst>
              </p:cNvPr>
              <p:cNvSpPr/>
              <p:nvPr/>
            </p:nvSpPr>
            <p:spPr>
              <a:xfrm>
                <a:off x="225314" y="3701452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ECCC69C9-4DE6-4EA1-9726-F3346FDCAF7A}"/>
                  </a:ext>
                </a:extLst>
              </p:cNvPr>
              <p:cNvSpPr txBox="1"/>
              <p:nvPr/>
            </p:nvSpPr>
            <p:spPr>
              <a:xfrm>
                <a:off x="399957" y="3820947"/>
                <a:ext cx="300095" cy="3517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</a:p>
            </p:txBody>
          </p:sp>
        </p:grpSp>
        <p:sp>
          <p:nvSpPr>
            <p:cNvPr id="74" name="Стрелка: вниз 29">
              <a:extLst>
                <a:ext uri="{FF2B5EF4-FFF2-40B4-BE49-F238E27FC236}">
                  <a16:creationId xmlns:a16="http://schemas.microsoft.com/office/drawing/2014/main" id="{2044FDA6-C7BE-4D4C-9A4C-1E612DD01FF1}"/>
                </a:ext>
              </a:extLst>
            </p:cNvPr>
            <p:cNvSpPr/>
            <p:nvPr/>
          </p:nvSpPr>
          <p:spPr>
            <a:xfrm rot="8596602">
              <a:off x="765880" y="4205165"/>
              <a:ext cx="132074" cy="316587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7" name="Прямоугольник: скругленные углы 76">
            <a:extLst>
              <a:ext uri="{FF2B5EF4-FFF2-40B4-BE49-F238E27FC236}">
                <a16:creationId xmlns:a16="http://schemas.microsoft.com/office/drawing/2014/main" id="{CF77B2E7-A82E-4698-99C1-C54DEA1A08FB}"/>
              </a:ext>
            </a:extLst>
          </p:cNvPr>
          <p:cNvSpPr/>
          <p:nvPr/>
        </p:nvSpPr>
        <p:spPr>
          <a:xfrm>
            <a:off x="4102022" y="4098349"/>
            <a:ext cx="1394214" cy="173434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A11BC5B0-55DA-4BBB-BA69-666E957E5DB8}"/>
              </a:ext>
            </a:extLst>
          </p:cNvPr>
          <p:cNvGrpSpPr/>
          <p:nvPr/>
        </p:nvGrpSpPr>
        <p:grpSpPr>
          <a:xfrm>
            <a:off x="6549083" y="4275549"/>
            <a:ext cx="643508" cy="669375"/>
            <a:chOff x="668556" y="4205165"/>
            <a:chExt cx="643508" cy="669375"/>
          </a:xfrm>
        </p:grpSpPr>
        <p:grpSp>
          <p:nvGrpSpPr>
            <p:cNvPr id="79" name="Группа 78">
              <a:extLst>
                <a:ext uri="{FF2B5EF4-FFF2-40B4-BE49-F238E27FC236}">
                  <a16:creationId xmlns:a16="http://schemas.microsoft.com/office/drawing/2014/main" id="{E785B8B0-52A3-4DEE-83CE-94C3D2EA5491}"/>
                </a:ext>
              </a:extLst>
            </p:cNvPr>
            <p:cNvGrpSpPr/>
            <p:nvPr/>
          </p:nvGrpSpPr>
          <p:grpSpPr>
            <a:xfrm>
              <a:off x="668556" y="4305948"/>
              <a:ext cx="643508" cy="568592"/>
              <a:chOff x="225314" y="3701452"/>
              <a:chExt cx="650240" cy="590718"/>
            </a:xfrm>
          </p:grpSpPr>
          <p:sp>
            <p:nvSpPr>
              <p:cNvPr id="81" name="Овал 80">
                <a:extLst>
                  <a:ext uri="{FF2B5EF4-FFF2-40B4-BE49-F238E27FC236}">
                    <a16:creationId xmlns:a16="http://schemas.microsoft.com/office/drawing/2014/main" id="{4F474351-813B-4E0B-925E-DEF7BB3DF4D3}"/>
                  </a:ext>
                </a:extLst>
              </p:cNvPr>
              <p:cNvSpPr/>
              <p:nvPr/>
            </p:nvSpPr>
            <p:spPr>
              <a:xfrm>
                <a:off x="225314" y="3701452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C453E07E-05C2-4B7F-A67F-16A4D4DE12AD}"/>
                  </a:ext>
                </a:extLst>
              </p:cNvPr>
              <p:cNvSpPr txBox="1"/>
              <p:nvPr/>
            </p:nvSpPr>
            <p:spPr>
              <a:xfrm>
                <a:off x="399957" y="3820947"/>
                <a:ext cx="300095" cy="3517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6</a:t>
                </a:r>
              </a:p>
            </p:txBody>
          </p:sp>
        </p:grpSp>
        <p:sp>
          <p:nvSpPr>
            <p:cNvPr id="80" name="Стрелка: вниз 29">
              <a:extLst>
                <a:ext uri="{FF2B5EF4-FFF2-40B4-BE49-F238E27FC236}">
                  <a16:creationId xmlns:a16="http://schemas.microsoft.com/office/drawing/2014/main" id="{5098DBD3-6CC3-429C-8931-5E9CBE1E21F8}"/>
                </a:ext>
              </a:extLst>
            </p:cNvPr>
            <p:cNvSpPr/>
            <p:nvPr/>
          </p:nvSpPr>
          <p:spPr>
            <a:xfrm rot="8596602">
              <a:off x="765880" y="4205165"/>
              <a:ext cx="132074" cy="316587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3" name="Прямоугольник: скругленные углы 82">
            <a:extLst>
              <a:ext uri="{FF2B5EF4-FFF2-40B4-BE49-F238E27FC236}">
                <a16:creationId xmlns:a16="http://schemas.microsoft.com/office/drawing/2014/main" id="{762A9ED8-C80B-4235-A244-72E976DA88B4}"/>
              </a:ext>
            </a:extLst>
          </p:cNvPr>
          <p:cNvSpPr/>
          <p:nvPr/>
        </p:nvSpPr>
        <p:spPr>
          <a:xfrm>
            <a:off x="5547461" y="4098349"/>
            <a:ext cx="1394214" cy="173434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Прямоугольник: скругленные углы 15">
            <a:extLst>
              <a:ext uri="{FF2B5EF4-FFF2-40B4-BE49-F238E27FC236}">
                <a16:creationId xmlns:a16="http://schemas.microsoft.com/office/drawing/2014/main" id="{A9E9218A-5843-49C1-8191-17BDFB8279C2}"/>
              </a:ext>
            </a:extLst>
          </p:cNvPr>
          <p:cNvSpPr/>
          <p:nvPr/>
        </p:nvSpPr>
        <p:spPr>
          <a:xfrm>
            <a:off x="8345965" y="4383733"/>
            <a:ext cx="3284372" cy="62009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6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рать из списка степень тяжести пациента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F7E63E6-6401-424C-96C9-465F973E1A48}"/>
              </a:ext>
            </a:extLst>
          </p:cNvPr>
          <p:cNvSpPr txBox="1"/>
          <p:nvPr/>
        </p:nvSpPr>
        <p:spPr>
          <a:xfrm>
            <a:off x="6930297" y="4079685"/>
            <a:ext cx="27443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b="1" dirty="0">
                <a:solidFill>
                  <a:schemeClr val="bg1">
                    <a:lumMod val="50000"/>
                  </a:schemeClr>
                </a:solidFill>
              </a:rPr>
              <a:t>94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5C18B2D4-4C19-44B4-96AB-332B9EABB320}"/>
              </a:ext>
            </a:extLst>
          </p:cNvPr>
          <p:cNvSpPr txBox="1"/>
          <p:nvPr/>
        </p:nvSpPr>
        <p:spPr>
          <a:xfrm>
            <a:off x="7620152" y="3945594"/>
            <a:ext cx="27122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b="1" dirty="0">
                <a:solidFill>
                  <a:schemeClr val="bg1">
                    <a:lumMod val="50000"/>
                  </a:schemeClr>
                </a:solidFill>
              </a:rPr>
              <a:t>,%</a:t>
            </a:r>
          </a:p>
        </p:txBody>
      </p:sp>
      <p:sp>
        <p:nvSpPr>
          <p:cNvPr id="86" name="Прямоугольник: скругленные углы 85">
            <a:extLst>
              <a:ext uri="{FF2B5EF4-FFF2-40B4-BE49-F238E27FC236}">
                <a16:creationId xmlns:a16="http://schemas.microsoft.com/office/drawing/2014/main" id="{7E4E5A97-7819-430E-AC3B-E2732FA7192A}"/>
              </a:ext>
            </a:extLst>
          </p:cNvPr>
          <p:cNvSpPr/>
          <p:nvPr/>
        </p:nvSpPr>
        <p:spPr>
          <a:xfrm>
            <a:off x="6977293" y="4098349"/>
            <a:ext cx="306518" cy="173434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DEBB7A93-4E47-40BD-AECA-D8F37458A145}"/>
              </a:ext>
            </a:extLst>
          </p:cNvPr>
          <p:cNvGrpSpPr/>
          <p:nvPr/>
        </p:nvGrpSpPr>
        <p:grpSpPr>
          <a:xfrm>
            <a:off x="3334479" y="1985963"/>
            <a:ext cx="643508" cy="669375"/>
            <a:chOff x="668556" y="4205165"/>
            <a:chExt cx="643508" cy="669375"/>
          </a:xfrm>
        </p:grpSpPr>
        <p:grpSp>
          <p:nvGrpSpPr>
            <p:cNvPr id="88" name="Группа 87">
              <a:extLst>
                <a:ext uri="{FF2B5EF4-FFF2-40B4-BE49-F238E27FC236}">
                  <a16:creationId xmlns:a16="http://schemas.microsoft.com/office/drawing/2014/main" id="{E9779958-B729-446B-80B4-E4E3995F8163}"/>
                </a:ext>
              </a:extLst>
            </p:cNvPr>
            <p:cNvGrpSpPr/>
            <p:nvPr/>
          </p:nvGrpSpPr>
          <p:grpSpPr>
            <a:xfrm>
              <a:off x="668556" y="4305948"/>
              <a:ext cx="643508" cy="568592"/>
              <a:chOff x="225314" y="3701452"/>
              <a:chExt cx="650240" cy="590718"/>
            </a:xfrm>
          </p:grpSpPr>
          <p:sp>
            <p:nvSpPr>
              <p:cNvPr id="90" name="Овал 89">
                <a:extLst>
                  <a:ext uri="{FF2B5EF4-FFF2-40B4-BE49-F238E27FC236}">
                    <a16:creationId xmlns:a16="http://schemas.microsoft.com/office/drawing/2014/main" id="{BB0535A5-D183-471F-B9B9-B6CF6999D63B}"/>
                  </a:ext>
                </a:extLst>
              </p:cNvPr>
              <p:cNvSpPr/>
              <p:nvPr/>
            </p:nvSpPr>
            <p:spPr>
              <a:xfrm>
                <a:off x="225314" y="3701452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9D807513-2CCD-4505-873F-292CE34F012D}"/>
                  </a:ext>
                </a:extLst>
              </p:cNvPr>
              <p:cNvSpPr txBox="1"/>
              <p:nvPr/>
            </p:nvSpPr>
            <p:spPr>
              <a:xfrm>
                <a:off x="399957" y="3820947"/>
                <a:ext cx="300095" cy="3517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8</a:t>
                </a:r>
              </a:p>
            </p:txBody>
          </p:sp>
        </p:grpSp>
        <p:sp>
          <p:nvSpPr>
            <p:cNvPr id="89" name="Стрелка: вниз 29">
              <a:extLst>
                <a:ext uri="{FF2B5EF4-FFF2-40B4-BE49-F238E27FC236}">
                  <a16:creationId xmlns:a16="http://schemas.microsoft.com/office/drawing/2014/main" id="{CCEC45BE-A561-4ACA-9924-73C02FACBA19}"/>
                </a:ext>
              </a:extLst>
            </p:cNvPr>
            <p:cNvSpPr/>
            <p:nvPr/>
          </p:nvSpPr>
          <p:spPr>
            <a:xfrm rot="8596602">
              <a:off x="765880" y="4205165"/>
              <a:ext cx="132074" cy="316587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2" name="Прямоугольник: скругленные углы 15">
            <a:extLst>
              <a:ext uri="{FF2B5EF4-FFF2-40B4-BE49-F238E27FC236}">
                <a16:creationId xmlns:a16="http://schemas.microsoft.com/office/drawing/2014/main" id="{136B4657-9E6F-4A24-ACB7-6EB66E1CA88E}"/>
              </a:ext>
            </a:extLst>
          </p:cNvPr>
          <p:cNvSpPr/>
          <p:nvPr/>
        </p:nvSpPr>
        <p:spPr>
          <a:xfrm>
            <a:off x="8345965" y="5074601"/>
            <a:ext cx="3284372" cy="62009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7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ать уровень сатурации в %</a:t>
            </a:r>
          </a:p>
        </p:txBody>
      </p:sp>
      <p:sp>
        <p:nvSpPr>
          <p:cNvPr id="97" name="Прямоугольник: скругленные углы 15">
            <a:extLst>
              <a:ext uri="{FF2B5EF4-FFF2-40B4-BE49-F238E27FC236}">
                <a16:creationId xmlns:a16="http://schemas.microsoft.com/office/drawing/2014/main" id="{4195B464-4BD7-4663-ACE6-5BBAADBF2637}"/>
              </a:ext>
            </a:extLst>
          </p:cNvPr>
          <p:cNvSpPr/>
          <p:nvPr/>
        </p:nvSpPr>
        <p:spPr>
          <a:xfrm>
            <a:off x="8360225" y="5765468"/>
            <a:ext cx="3284372" cy="69222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8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ить выполненные элементы</a:t>
            </a:r>
          </a:p>
        </p:txBody>
      </p:sp>
      <p:sp>
        <p:nvSpPr>
          <p:cNvPr id="98" name="Прямоугольник: скругленные углы 97">
            <a:extLst>
              <a:ext uri="{FF2B5EF4-FFF2-40B4-BE49-F238E27FC236}">
                <a16:creationId xmlns:a16="http://schemas.microsoft.com/office/drawing/2014/main" id="{F3997346-8283-4FE5-9E15-86F1EDB30D91}"/>
              </a:ext>
            </a:extLst>
          </p:cNvPr>
          <p:cNvSpPr/>
          <p:nvPr/>
        </p:nvSpPr>
        <p:spPr>
          <a:xfrm>
            <a:off x="2345730" y="1848285"/>
            <a:ext cx="1093385" cy="173434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0E924605-377A-45F3-9274-EFC2163F4EB3}"/>
              </a:ext>
            </a:extLst>
          </p:cNvPr>
          <p:cNvGrpSpPr/>
          <p:nvPr/>
        </p:nvGrpSpPr>
        <p:grpSpPr>
          <a:xfrm>
            <a:off x="7228931" y="4275549"/>
            <a:ext cx="643508" cy="669375"/>
            <a:chOff x="668556" y="4205165"/>
            <a:chExt cx="643508" cy="669375"/>
          </a:xfrm>
        </p:grpSpPr>
        <p:grpSp>
          <p:nvGrpSpPr>
            <p:cNvPr id="100" name="Группа 99">
              <a:extLst>
                <a:ext uri="{FF2B5EF4-FFF2-40B4-BE49-F238E27FC236}">
                  <a16:creationId xmlns:a16="http://schemas.microsoft.com/office/drawing/2014/main" id="{F0703E8B-E6D0-4FAA-83BC-94728CD5C7A5}"/>
                </a:ext>
              </a:extLst>
            </p:cNvPr>
            <p:cNvGrpSpPr/>
            <p:nvPr/>
          </p:nvGrpSpPr>
          <p:grpSpPr>
            <a:xfrm>
              <a:off x="668556" y="4305948"/>
              <a:ext cx="643508" cy="568592"/>
              <a:chOff x="225314" y="3701452"/>
              <a:chExt cx="650240" cy="590718"/>
            </a:xfrm>
          </p:grpSpPr>
          <p:sp>
            <p:nvSpPr>
              <p:cNvPr id="102" name="Овал 101">
                <a:extLst>
                  <a:ext uri="{FF2B5EF4-FFF2-40B4-BE49-F238E27FC236}">
                    <a16:creationId xmlns:a16="http://schemas.microsoft.com/office/drawing/2014/main" id="{7FCAB2AF-44EC-437C-9F9D-6E4D06C92FB2}"/>
                  </a:ext>
                </a:extLst>
              </p:cNvPr>
              <p:cNvSpPr/>
              <p:nvPr/>
            </p:nvSpPr>
            <p:spPr>
              <a:xfrm>
                <a:off x="225314" y="3701452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2AE2B4DC-394D-4EF9-ABF2-0331727F31CE}"/>
                  </a:ext>
                </a:extLst>
              </p:cNvPr>
              <p:cNvSpPr txBox="1"/>
              <p:nvPr/>
            </p:nvSpPr>
            <p:spPr>
              <a:xfrm>
                <a:off x="399957" y="3820947"/>
                <a:ext cx="300095" cy="3517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7</a:t>
                </a:r>
              </a:p>
            </p:txBody>
          </p:sp>
        </p:grpSp>
        <p:sp>
          <p:nvSpPr>
            <p:cNvPr id="101" name="Стрелка: вниз 29">
              <a:extLst>
                <a:ext uri="{FF2B5EF4-FFF2-40B4-BE49-F238E27FC236}">
                  <a16:creationId xmlns:a16="http://schemas.microsoft.com/office/drawing/2014/main" id="{6967CFE1-9A96-4A12-BD80-A69EE6EB8697}"/>
                </a:ext>
              </a:extLst>
            </p:cNvPr>
            <p:cNvSpPr/>
            <p:nvPr/>
          </p:nvSpPr>
          <p:spPr>
            <a:xfrm rot="8596602">
              <a:off x="765880" y="4205165"/>
              <a:ext cx="132074" cy="316587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id="{2CE8C1AF-8B16-4EC2-8EE3-245B73CD9D0B}"/>
              </a:ext>
            </a:extLst>
          </p:cNvPr>
          <p:cNvGrpSpPr/>
          <p:nvPr/>
        </p:nvGrpSpPr>
        <p:grpSpPr>
          <a:xfrm>
            <a:off x="8420914" y="1277099"/>
            <a:ext cx="3040959" cy="1121982"/>
            <a:chOff x="7487224" y="1195458"/>
            <a:chExt cx="3040959" cy="1121982"/>
          </a:xfrm>
        </p:grpSpPr>
        <p:sp>
          <p:nvSpPr>
            <p:cNvPr id="105" name="Прямоугольник 104">
              <a:extLst>
                <a:ext uri="{FF2B5EF4-FFF2-40B4-BE49-F238E27FC236}">
                  <a16:creationId xmlns:a16="http://schemas.microsoft.com/office/drawing/2014/main" id="{85ACFC9D-88D9-4DC0-97A8-AFFDF515FDB0}"/>
                </a:ext>
              </a:extLst>
            </p:cNvPr>
            <p:cNvSpPr/>
            <p:nvPr/>
          </p:nvSpPr>
          <p:spPr>
            <a:xfrm>
              <a:off x="7487224" y="1195458"/>
              <a:ext cx="3040959" cy="1121354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012BDECF-3626-4A69-9773-4BBCBBF08FEC}"/>
                </a:ext>
              </a:extLst>
            </p:cNvPr>
            <p:cNvSpPr txBox="1"/>
            <p:nvPr/>
          </p:nvSpPr>
          <p:spPr>
            <a:xfrm>
              <a:off x="7647393" y="1253338"/>
              <a:ext cx="376051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>
                  <a:solidFill>
                    <a:srgbClr val="C00000"/>
                  </a:solidFill>
                </a:rPr>
                <a:t>!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D38A8D29-EF2C-49B8-B8F9-4C5F2843A67B}"/>
                </a:ext>
              </a:extLst>
            </p:cNvPr>
            <p:cNvSpPr txBox="1"/>
            <p:nvPr/>
          </p:nvSpPr>
          <p:spPr>
            <a:xfrm>
              <a:off x="8089345" y="1255611"/>
              <a:ext cx="2340000" cy="10618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подразделениях ОРИТ важно вносить данные оперативно </a:t>
              </a:r>
              <a:b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соответствии с требованиями Федерального регистра.</a:t>
              </a:r>
              <a:b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 необходимости необходимо скорректировать дату изменений</a:t>
              </a:r>
            </a:p>
          </p:txBody>
        </p:sp>
      </p:grp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4910EC0-8053-47BB-85E3-E028F4E4AB80}"/>
              </a:ext>
            </a:extLst>
          </p:cNvPr>
          <p:cNvSpPr/>
          <p:nvPr/>
        </p:nvSpPr>
        <p:spPr>
          <a:xfrm>
            <a:off x="3277274" y="5410736"/>
            <a:ext cx="2540899" cy="1444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9FFAAA2-1658-40A1-B443-4B7546845144}"/>
              </a:ext>
            </a:extLst>
          </p:cNvPr>
          <p:cNvSpPr txBox="1"/>
          <p:nvPr/>
        </p:nvSpPr>
        <p:spPr>
          <a:xfrm>
            <a:off x="3070725" y="5370458"/>
            <a:ext cx="24416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>
                <a:solidFill>
                  <a:srgbClr val="000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параты кислородной поддержки</a:t>
            </a:r>
          </a:p>
        </p:txBody>
      </p:sp>
      <p:sp>
        <p:nvSpPr>
          <p:cNvPr id="17" name="Стрелка: вниз 16">
            <a:extLst>
              <a:ext uri="{FF2B5EF4-FFF2-40B4-BE49-F238E27FC236}">
                <a16:creationId xmlns:a16="http://schemas.microsoft.com/office/drawing/2014/main" id="{FFE62C79-C00B-4687-AA73-C604E3E530A3}"/>
              </a:ext>
            </a:extLst>
          </p:cNvPr>
          <p:cNvSpPr/>
          <p:nvPr/>
        </p:nvSpPr>
        <p:spPr>
          <a:xfrm>
            <a:off x="4590860" y="5114759"/>
            <a:ext cx="139651" cy="310833"/>
          </a:xfrm>
          <a:prstGeom prst="down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EDF67B3E-80CF-47C2-B766-F3FC38C32B0F}"/>
              </a:ext>
            </a:extLst>
          </p:cNvPr>
          <p:cNvSpPr/>
          <p:nvPr/>
        </p:nvSpPr>
        <p:spPr>
          <a:xfrm>
            <a:off x="8589378" y="3413518"/>
            <a:ext cx="3023824" cy="853960"/>
          </a:xfrm>
          <a:prstGeom prst="round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) при отмене кислородной поддержки- не выбирать из списка </a:t>
            </a:r>
          </a:p>
          <a:p>
            <a:pPr>
              <a:spcBef>
                <a:spcPts val="600"/>
              </a:spcBef>
            </a:pP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) при смене типа аппарата кислородной поддержки – выбираем новый аппарат</a:t>
            </a:r>
          </a:p>
        </p:txBody>
      </p:sp>
      <p:sp>
        <p:nvSpPr>
          <p:cNvPr id="54" name="Номер слайда 10">
            <a:extLst>
              <a:ext uri="{FF2B5EF4-FFF2-40B4-BE49-F238E27FC236}">
                <a16:creationId xmlns:a16="http://schemas.microsoft.com/office/drawing/2014/main" id="{F58620CF-5329-4C73-965C-4B5769E52B99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88021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604" y="1743396"/>
            <a:ext cx="6429003" cy="3937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289531" y="530743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Лекарственные препараты</a:t>
            </a: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E9C113B1-0436-4A4B-9BCB-8BC4CB0753F7}"/>
              </a:ext>
            </a:extLst>
          </p:cNvPr>
          <p:cNvGrpSpPr/>
          <p:nvPr/>
        </p:nvGrpSpPr>
        <p:grpSpPr>
          <a:xfrm>
            <a:off x="2455816" y="1958715"/>
            <a:ext cx="822897" cy="590718"/>
            <a:chOff x="3776143" y="3109518"/>
            <a:chExt cx="822897" cy="590718"/>
          </a:xfrm>
        </p:grpSpPr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F2B43BA5-4EE7-438F-A361-93655174DD78}"/>
                </a:ext>
              </a:extLst>
            </p:cNvPr>
            <p:cNvGrpSpPr/>
            <p:nvPr/>
          </p:nvGrpSpPr>
          <p:grpSpPr>
            <a:xfrm>
              <a:off x="3948800" y="3109518"/>
              <a:ext cx="650240" cy="590718"/>
              <a:chOff x="2045245" y="4063462"/>
              <a:chExt cx="650240" cy="590718"/>
            </a:xfrm>
          </p:grpSpPr>
          <p:sp>
            <p:nvSpPr>
              <p:cNvPr id="7" name="Овал 6">
                <a:extLst>
                  <a:ext uri="{FF2B5EF4-FFF2-40B4-BE49-F238E27FC236}">
                    <a16:creationId xmlns:a16="http://schemas.microsoft.com/office/drawing/2014/main" id="{ABABAD6E-0377-0541-B0F1-7A22B3405367}"/>
                  </a:ext>
                </a:extLst>
              </p:cNvPr>
              <p:cNvSpPr/>
              <p:nvPr/>
            </p:nvSpPr>
            <p:spPr>
              <a:xfrm>
                <a:off x="2045245" y="4063462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725EAA8-AB73-9E45-96AE-641265F28FB5}"/>
                  </a:ext>
                </a:extLst>
              </p:cNvPr>
              <p:cNvSpPr txBox="1"/>
              <p:nvPr/>
            </p:nvSpPr>
            <p:spPr>
              <a:xfrm>
                <a:off x="2151154" y="4182756"/>
                <a:ext cx="46054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2</a:t>
                </a:r>
              </a:p>
            </p:txBody>
          </p:sp>
        </p:grpSp>
        <p:sp>
          <p:nvSpPr>
            <p:cNvPr id="9" name="Стрелка: вниз 29">
              <a:extLst>
                <a:ext uri="{FF2B5EF4-FFF2-40B4-BE49-F238E27FC236}">
                  <a16:creationId xmlns:a16="http://schemas.microsoft.com/office/drawing/2014/main" id="{9C2F9514-F6C8-B94B-891C-8FF9F0C772F1}"/>
                </a:ext>
              </a:extLst>
            </p:cNvPr>
            <p:cNvSpPr/>
            <p:nvPr/>
          </p:nvSpPr>
          <p:spPr>
            <a:xfrm rot="4467541">
              <a:off x="3867486" y="3316316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63A268C5-277F-4DC5-87B2-943B5663BE07}"/>
              </a:ext>
            </a:extLst>
          </p:cNvPr>
          <p:cNvSpPr/>
          <p:nvPr/>
        </p:nvSpPr>
        <p:spPr>
          <a:xfrm>
            <a:off x="1319600" y="1652271"/>
            <a:ext cx="6447008" cy="4097014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767FA9E-BA6F-43E6-A078-544133F3778F}"/>
              </a:ext>
            </a:extLst>
          </p:cNvPr>
          <p:cNvGrpSpPr/>
          <p:nvPr/>
        </p:nvGrpSpPr>
        <p:grpSpPr>
          <a:xfrm>
            <a:off x="569110" y="4164833"/>
            <a:ext cx="867615" cy="624365"/>
            <a:chOff x="489444" y="4256855"/>
            <a:chExt cx="867615" cy="624365"/>
          </a:xfrm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757B0103-C031-C148-B3FB-114E694C3A3A}"/>
                </a:ext>
              </a:extLst>
            </p:cNvPr>
            <p:cNvSpPr/>
            <p:nvPr/>
          </p:nvSpPr>
          <p:spPr>
            <a:xfrm>
              <a:off x="489444" y="4290502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8BEA027-597E-E44F-BC83-486877B44125}"/>
                </a:ext>
              </a:extLst>
            </p:cNvPr>
            <p:cNvSpPr txBox="1"/>
            <p:nvPr/>
          </p:nvSpPr>
          <p:spPr>
            <a:xfrm>
              <a:off x="627105" y="4416584"/>
              <a:ext cx="4751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</a:t>
              </a:r>
            </a:p>
          </p:txBody>
        </p:sp>
        <p:sp>
          <p:nvSpPr>
            <p:cNvPr id="12" name="Стрелка: вниз 29">
              <a:extLst>
                <a:ext uri="{FF2B5EF4-FFF2-40B4-BE49-F238E27FC236}">
                  <a16:creationId xmlns:a16="http://schemas.microsoft.com/office/drawing/2014/main" id="{D19EBC63-AF4F-2C47-B1E1-0F1B764EBA3F}"/>
                </a:ext>
              </a:extLst>
            </p:cNvPr>
            <p:cNvSpPr/>
            <p:nvPr/>
          </p:nvSpPr>
          <p:spPr>
            <a:xfrm rot="13943733">
              <a:off x="1128503" y="4165512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9EC5010F-8CA2-41CA-AF40-A9FF7031104B}"/>
              </a:ext>
            </a:extLst>
          </p:cNvPr>
          <p:cNvGrpSpPr/>
          <p:nvPr/>
        </p:nvGrpSpPr>
        <p:grpSpPr>
          <a:xfrm>
            <a:off x="2592416" y="4553509"/>
            <a:ext cx="867615" cy="624365"/>
            <a:chOff x="489444" y="4256855"/>
            <a:chExt cx="867615" cy="624365"/>
          </a:xfrm>
        </p:grpSpPr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584DC6BF-826E-4632-81D0-E0CB1D897430}"/>
                </a:ext>
              </a:extLst>
            </p:cNvPr>
            <p:cNvSpPr/>
            <p:nvPr/>
          </p:nvSpPr>
          <p:spPr>
            <a:xfrm>
              <a:off x="489444" y="4290502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DFFD31C-45A4-43CB-B9C6-C295D50CEE62}"/>
                </a:ext>
              </a:extLst>
            </p:cNvPr>
            <p:cNvSpPr txBox="1"/>
            <p:nvPr/>
          </p:nvSpPr>
          <p:spPr>
            <a:xfrm>
              <a:off x="605928" y="4399265"/>
              <a:ext cx="51150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</a:p>
          </p:txBody>
        </p:sp>
        <p:sp>
          <p:nvSpPr>
            <p:cNvPr id="21" name="Стрелка: вниз 29">
              <a:extLst>
                <a:ext uri="{FF2B5EF4-FFF2-40B4-BE49-F238E27FC236}">
                  <a16:creationId xmlns:a16="http://schemas.microsoft.com/office/drawing/2014/main" id="{56FF7C8B-A9E1-423B-9E80-888720A3712C}"/>
                </a:ext>
              </a:extLst>
            </p:cNvPr>
            <p:cNvSpPr/>
            <p:nvPr/>
          </p:nvSpPr>
          <p:spPr>
            <a:xfrm rot="13943733">
              <a:off x="1128503" y="4165512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6" name="Прямоугольник: скругленные углы 15">
            <a:extLst>
              <a:ext uri="{FF2B5EF4-FFF2-40B4-BE49-F238E27FC236}">
                <a16:creationId xmlns:a16="http://schemas.microsoft.com/office/drawing/2014/main" id="{0C6AEEA1-4E9B-417B-B06C-5E238BDD0F31}"/>
              </a:ext>
            </a:extLst>
          </p:cNvPr>
          <p:cNvSpPr/>
          <p:nvPr/>
        </p:nvSpPr>
        <p:spPr>
          <a:xfrm>
            <a:off x="7978015" y="4977682"/>
            <a:ext cx="3675201" cy="78147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2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ить выполненные элементы</a:t>
            </a:r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49D7C25B-10B9-479D-B225-5DCC2745414B}"/>
              </a:ext>
            </a:extLst>
          </p:cNvPr>
          <p:cNvSpPr/>
          <p:nvPr/>
        </p:nvSpPr>
        <p:spPr>
          <a:xfrm>
            <a:off x="1445360" y="4023096"/>
            <a:ext cx="539082" cy="143354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: скругленные углы 15">
            <a:extLst>
              <a:ext uri="{FF2B5EF4-FFF2-40B4-BE49-F238E27FC236}">
                <a16:creationId xmlns:a16="http://schemas.microsoft.com/office/drawing/2014/main" id="{2143057F-FA05-4EC1-A19F-1B2EFBFE3C7B}"/>
              </a:ext>
            </a:extLst>
          </p:cNvPr>
          <p:cNvSpPr/>
          <p:nvPr/>
        </p:nvSpPr>
        <p:spPr>
          <a:xfrm>
            <a:off x="7978015" y="3163580"/>
            <a:ext cx="3675201" cy="5685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0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ть новую запись</a:t>
            </a:r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7813B010-5544-4829-A9A9-6E3BAF44D7A8}"/>
              </a:ext>
            </a:extLst>
          </p:cNvPr>
          <p:cNvSpPr/>
          <p:nvPr/>
        </p:nvSpPr>
        <p:spPr>
          <a:xfrm>
            <a:off x="3205678" y="4324563"/>
            <a:ext cx="4378906" cy="16783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: скругленные углы 15">
            <a:extLst>
              <a:ext uri="{FF2B5EF4-FFF2-40B4-BE49-F238E27FC236}">
                <a16:creationId xmlns:a16="http://schemas.microsoft.com/office/drawing/2014/main" id="{32685206-0E81-47FC-B16F-543C97C5E5CB}"/>
              </a:ext>
            </a:extLst>
          </p:cNvPr>
          <p:cNvSpPr/>
          <p:nvPr/>
        </p:nvSpPr>
        <p:spPr>
          <a:xfrm>
            <a:off x="7978015" y="4001642"/>
            <a:ext cx="3675201" cy="7814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1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ираем вид препарата, его наименование, форму выпуска, дозировку и дневное количество 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:a16="http://schemas.microsoft.com/office/drawing/2014/main" id="{23524C44-A402-41EA-8153-A1375631F625}"/>
              </a:ext>
            </a:extLst>
          </p:cNvPr>
          <p:cNvSpPr/>
          <p:nvPr/>
        </p:nvSpPr>
        <p:spPr>
          <a:xfrm>
            <a:off x="1404052" y="2305391"/>
            <a:ext cx="924867" cy="143354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9BCF471E-5095-4AFE-A484-DDAA089BE63E}"/>
              </a:ext>
            </a:extLst>
          </p:cNvPr>
          <p:cNvGrpSpPr/>
          <p:nvPr/>
        </p:nvGrpSpPr>
        <p:grpSpPr>
          <a:xfrm>
            <a:off x="3300082" y="3148544"/>
            <a:ext cx="890092" cy="628799"/>
            <a:chOff x="4919120" y="3119050"/>
            <a:chExt cx="890092" cy="628799"/>
          </a:xfrm>
        </p:grpSpPr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DA4F5CE8-6A7D-4431-B672-B6E7E873E51B}"/>
                </a:ext>
              </a:extLst>
            </p:cNvPr>
            <p:cNvSpPr/>
            <p:nvPr/>
          </p:nvSpPr>
          <p:spPr>
            <a:xfrm>
              <a:off x="5158972" y="311905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1FE83E0-9854-4640-BB98-EF5488F9985F}"/>
                </a:ext>
              </a:extLst>
            </p:cNvPr>
            <p:cNvSpPr txBox="1"/>
            <p:nvPr/>
          </p:nvSpPr>
          <p:spPr>
            <a:xfrm>
              <a:off x="5322170" y="3245132"/>
              <a:ext cx="47726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</a:p>
          </p:txBody>
        </p:sp>
        <p:sp>
          <p:nvSpPr>
            <p:cNvPr id="40" name="Стрелка: вниз 29">
              <a:extLst>
                <a:ext uri="{FF2B5EF4-FFF2-40B4-BE49-F238E27FC236}">
                  <a16:creationId xmlns:a16="http://schemas.microsoft.com/office/drawing/2014/main" id="{A4C0A96E-079A-4DDF-BE09-B7760AEB4ACA}"/>
                </a:ext>
              </a:extLst>
            </p:cNvPr>
            <p:cNvSpPr/>
            <p:nvPr/>
          </p:nvSpPr>
          <p:spPr>
            <a:xfrm rot="3130524">
              <a:off x="5010463" y="3519292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1" name="Прямоугольник: скругленные углы 40">
            <a:extLst>
              <a:ext uri="{FF2B5EF4-FFF2-40B4-BE49-F238E27FC236}">
                <a16:creationId xmlns:a16="http://schemas.microsoft.com/office/drawing/2014/main" id="{840908AF-3FDD-4407-BBBA-45C310ECD791}"/>
              </a:ext>
            </a:extLst>
          </p:cNvPr>
          <p:cNvSpPr/>
          <p:nvPr/>
        </p:nvSpPr>
        <p:spPr>
          <a:xfrm>
            <a:off x="2375215" y="3844655"/>
            <a:ext cx="1004838" cy="133359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: скругленные углы 15">
            <a:extLst>
              <a:ext uri="{FF2B5EF4-FFF2-40B4-BE49-F238E27FC236}">
                <a16:creationId xmlns:a16="http://schemas.microsoft.com/office/drawing/2014/main" id="{91721AB2-0611-F647-BFDE-9468191E7359}"/>
              </a:ext>
            </a:extLst>
          </p:cNvPr>
          <p:cNvSpPr/>
          <p:nvPr/>
        </p:nvSpPr>
        <p:spPr>
          <a:xfrm>
            <a:off x="7978015" y="2305391"/>
            <a:ext cx="3675201" cy="55956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9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им на закладку лекарственные препараты</a:t>
            </a:r>
            <a:endParaRPr lang="en-US" sz="11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F8A63C72-8B91-4987-9C5E-7D11F316FC99}"/>
              </a:ext>
            </a:extLst>
          </p:cNvPr>
          <p:cNvGrpSpPr/>
          <p:nvPr/>
        </p:nvGrpSpPr>
        <p:grpSpPr>
          <a:xfrm>
            <a:off x="8420914" y="1126024"/>
            <a:ext cx="3040959" cy="832691"/>
            <a:chOff x="7487224" y="946918"/>
            <a:chExt cx="3040959" cy="1369894"/>
          </a:xfrm>
        </p:grpSpPr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id="{2FC84902-B9F4-437B-97B7-A011698A534B}"/>
                </a:ext>
              </a:extLst>
            </p:cNvPr>
            <p:cNvSpPr/>
            <p:nvPr/>
          </p:nvSpPr>
          <p:spPr>
            <a:xfrm>
              <a:off x="7487224" y="1195458"/>
              <a:ext cx="3040959" cy="1121354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08431F8-7EDE-4313-A9AC-E4AC03F65F50}"/>
                </a:ext>
              </a:extLst>
            </p:cNvPr>
            <p:cNvSpPr txBox="1"/>
            <p:nvPr/>
          </p:nvSpPr>
          <p:spPr>
            <a:xfrm>
              <a:off x="7647393" y="946918"/>
              <a:ext cx="376051" cy="1015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>
                  <a:solidFill>
                    <a:srgbClr val="C00000"/>
                  </a:solidFill>
                </a:rPr>
                <a:t>!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4ED63D2-1BFE-49A3-8A8A-9BD6273AB740}"/>
                </a:ext>
              </a:extLst>
            </p:cNvPr>
            <p:cNvSpPr txBox="1"/>
            <p:nvPr/>
          </p:nvSpPr>
          <p:spPr>
            <a:xfrm>
              <a:off x="8089345" y="1131305"/>
              <a:ext cx="2340000" cy="5770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b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 необходимости необходимо скорректировать дату изменений</a:t>
              </a:r>
            </a:p>
          </p:txBody>
        </p:sp>
      </p:grpSp>
      <p:sp>
        <p:nvSpPr>
          <p:cNvPr id="34" name="Номер слайда 10">
            <a:extLst>
              <a:ext uri="{FF2B5EF4-FFF2-40B4-BE49-F238E27FC236}">
                <a16:creationId xmlns:a16="http://schemas.microsoft.com/office/drawing/2014/main" id="{C403B046-4B99-4DBC-BA58-A0EBDF70EE4C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6547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B03A7850-B522-4B46-9E15-80EFF9FD00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3239" y="1657291"/>
            <a:ext cx="5975503" cy="3793202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292756" y="536427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струментальная диагностика</a:t>
            </a:r>
          </a:p>
        </p:txBody>
      </p:sp>
      <p:sp>
        <p:nvSpPr>
          <p:cNvPr id="6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581979" y="3939722"/>
            <a:ext cx="4062801" cy="99060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5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бы отразить прохождение пациентом компьютерной томографии или рентгена лёгких, добавьте новую строку в таблицу «Инструментальная диагностика».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B92AFBEA-7073-4B0C-A64D-4D1D95BA69D7}"/>
              </a:ext>
            </a:extLst>
          </p:cNvPr>
          <p:cNvGrpSpPr/>
          <p:nvPr/>
        </p:nvGrpSpPr>
        <p:grpSpPr>
          <a:xfrm>
            <a:off x="5317153" y="3319345"/>
            <a:ext cx="890092" cy="628799"/>
            <a:chOff x="4919120" y="3119050"/>
            <a:chExt cx="890092" cy="628799"/>
          </a:xfrm>
        </p:grpSpPr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7FC23F1A-603C-6844-B3BC-57BD8312168A}"/>
                </a:ext>
              </a:extLst>
            </p:cNvPr>
            <p:cNvSpPr/>
            <p:nvPr/>
          </p:nvSpPr>
          <p:spPr>
            <a:xfrm>
              <a:off x="5158972" y="311905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C8EEDA7-D239-D940-A3F3-61BD398D1C58}"/>
                </a:ext>
              </a:extLst>
            </p:cNvPr>
            <p:cNvSpPr txBox="1"/>
            <p:nvPr/>
          </p:nvSpPr>
          <p:spPr>
            <a:xfrm>
              <a:off x="5283797" y="3245132"/>
              <a:ext cx="47726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</a:t>
              </a:r>
            </a:p>
          </p:txBody>
        </p:sp>
        <p:sp>
          <p:nvSpPr>
            <p:cNvPr id="11" name="Стрелка: вниз 29">
              <a:extLst>
                <a:ext uri="{FF2B5EF4-FFF2-40B4-BE49-F238E27FC236}">
                  <a16:creationId xmlns:a16="http://schemas.microsoft.com/office/drawing/2014/main" id="{ABE15480-A8F9-6C41-AB53-BFBD36A6E5C8}"/>
                </a:ext>
              </a:extLst>
            </p:cNvPr>
            <p:cNvSpPr/>
            <p:nvPr/>
          </p:nvSpPr>
          <p:spPr>
            <a:xfrm rot="3130524">
              <a:off x="5010463" y="3519292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" name="Прямоугольник: скругленные углы 15">
            <a:extLst>
              <a:ext uri="{FF2B5EF4-FFF2-40B4-BE49-F238E27FC236}">
                <a16:creationId xmlns:a16="http://schemas.microsoft.com/office/drawing/2014/main" id="{46E58054-4C6D-DA47-B149-57AEAC6E515F}"/>
              </a:ext>
            </a:extLst>
          </p:cNvPr>
          <p:cNvSpPr/>
          <p:nvPr/>
        </p:nvSpPr>
        <p:spPr>
          <a:xfrm>
            <a:off x="7583946" y="2303619"/>
            <a:ext cx="4060833" cy="70659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3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им на вкладку </a:t>
            </a:r>
            <a:b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Инструментальная диагностика»</a:t>
            </a:r>
          </a:p>
        </p:txBody>
      </p: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F4DB7750-2756-4035-AD11-2438E593A582}"/>
              </a:ext>
            </a:extLst>
          </p:cNvPr>
          <p:cNvSpPr/>
          <p:nvPr/>
        </p:nvSpPr>
        <p:spPr>
          <a:xfrm>
            <a:off x="1316074" y="1594846"/>
            <a:ext cx="6042669" cy="3855647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95E7EC4E-F143-410B-AB91-F916CD092820}"/>
              </a:ext>
            </a:extLst>
          </p:cNvPr>
          <p:cNvGrpSpPr/>
          <p:nvPr/>
        </p:nvGrpSpPr>
        <p:grpSpPr>
          <a:xfrm>
            <a:off x="616477" y="4431617"/>
            <a:ext cx="863206" cy="610265"/>
            <a:chOff x="765202" y="4255043"/>
            <a:chExt cx="863206" cy="610265"/>
          </a:xfrm>
        </p:grpSpPr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CB80483D-62D7-E14D-B128-126E38EF8CD8}"/>
                </a:ext>
              </a:extLst>
            </p:cNvPr>
            <p:cNvSpPr/>
            <p:nvPr/>
          </p:nvSpPr>
          <p:spPr>
            <a:xfrm>
              <a:off x="765202" y="427459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16618B7-A4AD-524C-8904-291B1FE09F4A}"/>
                </a:ext>
              </a:extLst>
            </p:cNvPr>
            <p:cNvSpPr txBox="1"/>
            <p:nvPr/>
          </p:nvSpPr>
          <p:spPr>
            <a:xfrm>
              <a:off x="874839" y="4388625"/>
              <a:ext cx="61170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4</a:t>
              </a:r>
            </a:p>
          </p:txBody>
        </p:sp>
        <p:sp>
          <p:nvSpPr>
            <p:cNvPr id="8" name="Стрелка: вниз 29">
              <a:extLst>
                <a:ext uri="{FF2B5EF4-FFF2-40B4-BE49-F238E27FC236}">
                  <a16:creationId xmlns:a16="http://schemas.microsoft.com/office/drawing/2014/main" id="{7A6A1F43-2908-664C-88AB-1A8EB0E296AB}"/>
                </a:ext>
              </a:extLst>
            </p:cNvPr>
            <p:cNvSpPr/>
            <p:nvPr/>
          </p:nvSpPr>
          <p:spPr>
            <a:xfrm rot="13943733">
              <a:off x="1399852" y="4163700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Прямоугольник: скругленные углы 15">
            <a:extLst>
              <a:ext uri="{FF2B5EF4-FFF2-40B4-BE49-F238E27FC236}">
                <a16:creationId xmlns:a16="http://schemas.microsoft.com/office/drawing/2014/main" id="{4BAF5E26-212D-41BA-BC7F-1BEC07AAB704}"/>
              </a:ext>
            </a:extLst>
          </p:cNvPr>
          <p:cNvSpPr/>
          <p:nvPr/>
        </p:nvSpPr>
        <p:spPr>
          <a:xfrm>
            <a:off x="7583946" y="3146471"/>
            <a:ext cx="4060834" cy="6340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4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ть новую запись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30A1EF8D-32E4-4D55-A0E2-FB8C2EA1BCE5}"/>
              </a:ext>
            </a:extLst>
          </p:cNvPr>
          <p:cNvGrpSpPr/>
          <p:nvPr/>
        </p:nvGrpSpPr>
        <p:grpSpPr>
          <a:xfrm>
            <a:off x="2414603" y="4767919"/>
            <a:ext cx="863206" cy="610265"/>
            <a:chOff x="765202" y="4255043"/>
            <a:chExt cx="863206" cy="610265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428C4611-5C5B-43B0-9776-F6EB4F559093}"/>
                </a:ext>
              </a:extLst>
            </p:cNvPr>
            <p:cNvSpPr/>
            <p:nvPr/>
          </p:nvSpPr>
          <p:spPr>
            <a:xfrm>
              <a:off x="765202" y="427459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3DFC8BE-0427-412C-B92E-8BCAA89B3AD8}"/>
                </a:ext>
              </a:extLst>
            </p:cNvPr>
            <p:cNvSpPr txBox="1"/>
            <p:nvPr/>
          </p:nvSpPr>
          <p:spPr>
            <a:xfrm>
              <a:off x="874839" y="4388625"/>
              <a:ext cx="61170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</a:t>
              </a:r>
            </a:p>
          </p:txBody>
        </p:sp>
        <p:sp>
          <p:nvSpPr>
            <p:cNvPr id="18" name="Стрелка: вниз 29">
              <a:extLst>
                <a:ext uri="{FF2B5EF4-FFF2-40B4-BE49-F238E27FC236}">
                  <a16:creationId xmlns:a16="http://schemas.microsoft.com/office/drawing/2014/main" id="{DE835528-AF5A-4326-A6B9-FDDDB71C6C71}"/>
                </a:ext>
              </a:extLst>
            </p:cNvPr>
            <p:cNvSpPr/>
            <p:nvPr/>
          </p:nvSpPr>
          <p:spPr>
            <a:xfrm rot="13943733">
              <a:off x="1399852" y="4163700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3" name="Прямоугольник: скругленные углы 15">
            <a:extLst>
              <a:ext uri="{FF2B5EF4-FFF2-40B4-BE49-F238E27FC236}">
                <a16:creationId xmlns:a16="http://schemas.microsoft.com/office/drawing/2014/main" id="{9CB96994-0D93-4DFF-B2DA-F52C62342E70}"/>
              </a:ext>
            </a:extLst>
          </p:cNvPr>
          <p:cNvSpPr/>
          <p:nvPr/>
        </p:nvSpPr>
        <p:spPr>
          <a:xfrm>
            <a:off x="7581979" y="5081425"/>
            <a:ext cx="4062800" cy="7885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6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ить выполненные элементы</a:t>
            </a:r>
          </a:p>
        </p:txBody>
      </p:sp>
      <p:sp>
        <p:nvSpPr>
          <p:cNvPr id="27" name="Прямоугольник: скругленные углы 26">
            <a:extLst>
              <a:ext uri="{FF2B5EF4-FFF2-40B4-BE49-F238E27FC236}">
                <a16:creationId xmlns:a16="http://schemas.microsoft.com/office/drawing/2014/main" id="{1627D960-C7B7-4ACE-B3BD-092ADE4E7EB4}"/>
              </a:ext>
            </a:extLst>
          </p:cNvPr>
          <p:cNvSpPr/>
          <p:nvPr/>
        </p:nvSpPr>
        <p:spPr>
          <a:xfrm>
            <a:off x="1512219" y="4208051"/>
            <a:ext cx="586547" cy="162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DAC089E4-249C-4B72-B42B-61E42BB0D4D4}"/>
              </a:ext>
            </a:extLst>
          </p:cNvPr>
          <p:cNvSpPr/>
          <p:nvPr/>
        </p:nvSpPr>
        <p:spPr>
          <a:xfrm>
            <a:off x="1449555" y="2302442"/>
            <a:ext cx="1152000" cy="143354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: скругленные углы 32">
            <a:extLst>
              <a:ext uri="{FF2B5EF4-FFF2-40B4-BE49-F238E27FC236}">
                <a16:creationId xmlns:a16="http://schemas.microsoft.com/office/drawing/2014/main" id="{413A9F31-9CD1-49AD-9496-B34BAC828C34}"/>
              </a:ext>
            </a:extLst>
          </p:cNvPr>
          <p:cNvSpPr/>
          <p:nvPr/>
        </p:nvSpPr>
        <p:spPr>
          <a:xfrm>
            <a:off x="3272749" y="4578009"/>
            <a:ext cx="1760805" cy="144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EDE5764C-7234-4EAB-85E4-81F11A64018C}"/>
              </a:ext>
            </a:extLst>
          </p:cNvPr>
          <p:cNvGrpSpPr/>
          <p:nvPr/>
        </p:nvGrpSpPr>
        <p:grpSpPr>
          <a:xfrm>
            <a:off x="8420914" y="1334666"/>
            <a:ext cx="3040959" cy="832691"/>
            <a:chOff x="7487224" y="946918"/>
            <a:chExt cx="3040959" cy="1369894"/>
          </a:xfrm>
        </p:grpSpPr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4101A455-53DE-4A01-A5B1-F2CED975D32A}"/>
                </a:ext>
              </a:extLst>
            </p:cNvPr>
            <p:cNvSpPr/>
            <p:nvPr/>
          </p:nvSpPr>
          <p:spPr>
            <a:xfrm>
              <a:off x="7487224" y="1195458"/>
              <a:ext cx="3040959" cy="1121354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95A96F6-294D-468A-964C-F73BBBB8BC3D}"/>
                </a:ext>
              </a:extLst>
            </p:cNvPr>
            <p:cNvSpPr txBox="1"/>
            <p:nvPr/>
          </p:nvSpPr>
          <p:spPr>
            <a:xfrm>
              <a:off x="7647393" y="946918"/>
              <a:ext cx="376051" cy="1015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>
                  <a:solidFill>
                    <a:srgbClr val="C00000"/>
                  </a:solidFill>
                </a:rPr>
                <a:t>!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AD01BF3-7872-4C92-92A9-005705507343}"/>
                </a:ext>
              </a:extLst>
            </p:cNvPr>
            <p:cNvSpPr txBox="1"/>
            <p:nvPr/>
          </p:nvSpPr>
          <p:spPr>
            <a:xfrm>
              <a:off x="8089345" y="1131305"/>
              <a:ext cx="2340000" cy="5770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b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 необходимости необходимо скорректировать дату изменений</a:t>
              </a:r>
            </a:p>
          </p:txBody>
        </p:sp>
      </p:grpSp>
      <p:sp>
        <p:nvSpPr>
          <p:cNvPr id="38" name="Прямоугольник: скругленные углы 37">
            <a:extLst>
              <a:ext uri="{FF2B5EF4-FFF2-40B4-BE49-F238E27FC236}">
                <a16:creationId xmlns:a16="http://schemas.microsoft.com/office/drawing/2014/main" id="{03DF2950-2E65-4BEA-831C-D65C575D292D}"/>
              </a:ext>
            </a:extLst>
          </p:cNvPr>
          <p:cNvSpPr/>
          <p:nvPr/>
        </p:nvSpPr>
        <p:spPr>
          <a:xfrm>
            <a:off x="3884714" y="4022263"/>
            <a:ext cx="1423973" cy="144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53EC515B-8237-440F-9653-07AFAE83F274}"/>
              </a:ext>
            </a:extLst>
          </p:cNvPr>
          <p:cNvGrpSpPr/>
          <p:nvPr/>
        </p:nvGrpSpPr>
        <p:grpSpPr>
          <a:xfrm>
            <a:off x="2667871" y="1952038"/>
            <a:ext cx="822897" cy="590718"/>
            <a:chOff x="3776143" y="3109518"/>
            <a:chExt cx="822897" cy="590718"/>
          </a:xfrm>
        </p:grpSpPr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26764A43-F3E6-43CF-9149-9B586D140090}"/>
                </a:ext>
              </a:extLst>
            </p:cNvPr>
            <p:cNvGrpSpPr/>
            <p:nvPr/>
          </p:nvGrpSpPr>
          <p:grpSpPr>
            <a:xfrm>
              <a:off x="3948800" y="3109518"/>
              <a:ext cx="650240" cy="590718"/>
              <a:chOff x="2045245" y="4063462"/>
              <a:chExt cx="650240" cy="590718"/>
            </a:xfrm>
          </p:grpSpPr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id="{AB44E0DF-8607-4329-9F6F-F8C2D568A4DE}"/>
                  </a:ext>
                </a:extLst>
              </p:cNvPr>
              <p:cNvSpPr/>
              <p:nvPr/>
            </p:nvSpPr>
            <p:spPr>
              <a:xfrm>
                <a:off x="2045245" y="4063462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7DE1667B-A1EE-42AA-9BF8-83567E2E830A}"/>
                  </a:ext>
                </a:extLst>
              </p:cNvPr>
              <p:cNvSpPr txBox="1"/>
              <p:nvPr/>
            </p:nvSpPr>
            <p:spPr>
              <a:xfrm>
                <a:off x="2151154" y="4182756"/>
                <a:ext cx="46054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6</a:t>
                </a:r>
              </a:p>
            </p:txBody>
          </p:sp>
        </p:grpSp>
        <p:sp>
          <p:nvSpPr>
            <p:cNvPr id="41" name="Стрелка: вниз 29">
              <a:extLst>
                <a:ext uri="{FF2B5EF4-FFF2-40B4-BE49-F238E27FC236}">
                  <a16:creationId xmlns:a16="http://schemas.microsoft.com/office/drawing/2014/main" id="{845BBC39-CE54-47C3-98CB-4D5AD291DE04}"/>
                </a:ext>
              </a:extLst>
            </p:cNvPr>
            <p:cNvSpPr/>
            <p:nvPr/>
          </p:nvSpPr>
          <p:spPr>
            <a:xfrm rot="4467541">
              <a:off x="3867486" y="3316316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4" name="Номер слайда 10">
            <a:extLst>
              <a:ext uri="{FF2B5EF4-FFF2-40B4-BE49-F238E27FC236}">
                <a16:creationId xmlns:a16="http://schemas.microsoft.com/office/drawing/2014/main" id="{1B450017-2886-4A97-9CAF-27129EB6801A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67338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5037" y="1795228"/>
            <a:ext cx="6073008" cy="399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7D29993-FEE4-4E1A-BD0C-0678602B9121}"/>
              </a:ext>
            </a:extLst>
          </p:cNvPr>
          <p:cNvSpPr/>
          <p:nvPr/>
        </p:nvSpPr>
        <p:spPr>
          <a:xfrm>
            <a:off x="250810" y="551754"/>
            <a:ext cx="772499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Лабораторные исследования</a:t>
            </a:r>
          </a:p>
        </p:txBody>
      </p:sp>
      <p:sp>
        <p:nvSpPr>
          <p:cNvPr id="6" name="Прямоугольник: скругленные углы 15">
            <a:extLst>
              <a:ext uri="{FF2B5EF4-FFF2-40B4-BE49-F238E27FC236}">
                <a16:creationId xmlns:a16="http://schemas.microsoft.com/office/drawing/2014/main" id="{B0D14CAD-2620-47C0-8D25-7C10A0FF6E51}"/>
              </a:ext>
            </a:extLst>
          </p:cNvPr>
          <p:cNvSpPr/>
          <p:nvPr/>
        </p:nvSpPr>
        <p:spPr>
          <a:xfrm>
            <a:off x="7582675" y="3759804"/>
            <a:ext cx="4060834" cy="67005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9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ываем вид исследования, дату, материал, лабораторию, метод и результат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2AC281AA-D2AB-4CB6-8BB3-FE4BA111D973}"/>
              </a:ext>
            </a:extLst>
          </p:cNvPr>
          <p:cNvGrpSpPr/>
          <p:nvPr/>
        </p:nvGrpSpPr>
        <p:grpSpPr>
          <a:xfrm>
            <a:off x="5569122" y="3212684"/>
            <a:ext cx="918872" cy="645754"/>
            <a:chOff x="5046608" y="3061599"/>
            <a:chExt cx="918872" cy="645754"/>
          </a:xfrm>
        </p:grpSpPr>
        <p:grpSp>
          <p:nvGrpSpPr>
            <p:cNvPr id="3" name="Группа 2">
              <a:extLst>
                <a:ext uri="{FF2B5EF4-FFF2-40B4-BE49-F238E27FC236}">
                  <a16:creationId xmlns:a16="http://schemas.microsoft.com/office/drawing/2014/main" id="{27357BE9-496A-4D1F-BD84-C024F2227835}"/>
                </a:ext>
              </a:extLst>
            </p:cNvPr>
            <p:cNvGrpSpPr/>
            <p:nvPr/>
          </p:nvGrpSpPr>
          <p:grpSpPr>
            <a:xfrm>
              <a:off x="5271939" y="3061599"/>
              <a:ext cx="693541" cy="590718"/>
              <a:chOff x="4805926" y="3847301"/>
              <a:chExt cx="693541" cy="590718"/>
            </a:xfrm>
          </p:grpSpPr>
          <p:sp>
            <p:nvSpPr>
              <p:cNvPr id="9" name="Овал 8">
                <a:extLst>
                  <a:ext uri="{FF2B5EF4-FFF2-40B4-BE49-F238E27FC236}">
                    <a16:creationId xmlns:a16="http://schemas.microsoft.com/office/drawing/2014/main" id="{4F112D1F-B2DF-5B44-AE93-1E66F883C0F0}"/>
                  </a:ext>
                </a:extLst>
              </p:cNvPr>
              <p:cNvSpPr/>
              <p:nvPr/>
            </p:nvSpPr>
            <p:spPr>
              <a:xfrm>
                <a:off x="4805926" y="3847301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6A174F8-5CE0-9B48-8163-BE8C8485D573}"/>
                  </a:ext>
                </a:extLst>
              </p:cNvPr>
              <p:cNvSpPr txBox="1"/>
              <p:nvPr/>
            </p:nvSpPr>
            <p:spPr>
              <a:xfrm>
                <a:off x="4949454" y="3964210"/>
                <a:ext cx="55001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7</a:t>
                </a:r>
              </a:p>
            </p:txBody>
          </p:sp>
        </p:grpSp>
        <p:sp>
          <p:nvSpPr>
            <p:cNvPr id="11" name="Стрелка: вниз 29">
              <a:extLst>
                <a:ext uri="{FF2B5EF4-FFF2-40B4-BE49-F238E27FC236}">
                  <a16:creationId xmlns:a16="http://schemas.microsoft.com/office/drawing/2014/main" id="{8B85EBE1-8F35-D048-8879-925E1F22B9EF}"/>
                </a:ext>
              </a:extLst>
            </p:cNvPr>
            <p:cNvSpPr/>
            <p:nvPr/>
          </p:nvSpPr>
          <p:spPr>
            <a:xfrm rot="3142119">
              <a:off x="5137951" y="3478796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рямоугольник: скругленные углы 12">
            <a:extLst>
              <a:ext uri="{FF2B5EF4-FFF2-40B4-BE49-F238E27FC236}">
                <a16:creationId xmlns:a16="http://schemas.microsoft.com/office/drawing/2014/main" id="{698655CD-0D14-427C-B117-BB6A46F2FC40}"/>
              </a:ext>
            </a:extLst>
          </p:cNvPr>
          <p:cNvSpPr/>
          <p:nvPr/>
        </p:nvSpPr>
        <p:spPr>
          <a:xfrm>
            <a:off x="1407692" y="1706880"/>
            <a:ext cx="6110353" cy="4079373"/>
          </a:xfrm>
          <a:prstGeom prst="roundRect">
            <a:avLst>
              <a:gd name="adj" fmla="val 1635"/>
            </a:avLst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35EE0C73-FCA1-451F-A82C-A680E612BD67}"/>
              </a:ext>
            </a:extLst>
          </p:cNvPr>
          <p:cNvGrpSpPr/>
          <p:nvPr/>
        </p:nvGrpSpPr>
        <p:grpSpPr>
          <a:xfrm>
            <a:off x="607399" y="4344445"/>
            <a:ext cx="879946" cy="639953"/>
            <a:chOff x="715009" y="4238265"/>
            <a:chExt cx="879946" cy="639953"/>
          </a:xfrm>
        </p:grpSpPr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8C05204A-EA57-1E40-8947-F7D5C51CA85E}"/>
                </a:ext>
              </a:extLst>
            </p:cNvPr>
            <p:cNvSpPr/>
            <p:nvPr/>
          </p:nvSpPr>
          <p:spPr>
            <a:xfrm>
              <a:off x="715009" y="428750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99F9990-4522-DC46-A062-991BDFCDE9FB}"/>
                </a:ext>
              </a:extLst>
            </p:cNvPr>
            <p:cNvSpPr txBox="1"/>
            <p:nvPr/>
          </p:nvSpPr>
          <p:spPr>
            <a:xfrm>
              <a:off x="839083" y="4407387"/>
              <a:ext cx="55001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8</a:t>
              </a:r>
            </a:p>
          </p:txBody>
        </p:sp>
        <p:sp>
          <p:nvSpPr>
            <p:cNvPr id="8" name="Стрелка: вниз 29">
              <a:extLst>
                <a:ext uri="{FF2B5EF4-FFF2-40B4-BE49-F238E27FC236}">
                  <a16:creationId xmlns:a16="http://schemas.microsoft.com/office/drawing/2014/main" id="{35EAA32A-2C3B-FD42-B065-4A14D228B0D6}"/>
                </a:ext>
              </a:extLst>
            </p:cNvPr>
            <p:cNvSpPr/>
            <p:nvPr/>
          </p:nvSpPr>
          <p:spPr>
            <a:xfrm rot="13943733">
              <a:off x="1366399" y="4146922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D7E43FEB-3BFB-402F-AA40-9FDFD583B033}"/>
              </a:ext>
            </a:extLst>
          </p:cNvPr>
          <p:cNvGrpSpPr/>
          <p:nvPr/>
        </p:nvGrpSpPr>
        <p:grpSpPr>
          <a:xfrm>
            <a:off x="2067072" y="4650031"/>
            <a:ext cx="879946" cy="639953"/>
            <a:chOff x="715009" y="4238265"/>
            <a:chExt cx="879946" cy="639953"/>
          </a:xfrm>
        </p:grpSpPr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0572964F-7B22-4894-ADAC-3C9F74D7B15A}"/>
                </a:ext>
              </a:extLst>
            </p:cNvPr>
            <p:cNvSpPr/>
            <p:nvPr/>
          </p:nvSpPr>
          <p:spPr>
            <a:xfrm>
              <a:off x="715009" y="4287500"/>
              <a:ext cx="650240" cy="59071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5CA97C7-3AF4-48DD-824B-D464DD1D87A1}"/>
                </a:ext>
              </a:extLst>
            </p:cNvPr>
            <p:cNvSpPr txBox="1"/>
            <p:nvPr/>
          </p:nvSpPr>
          <p:spPr>
            <a:xfrm>
              <a:off x="839083" y="4407387"/>
              <a:ext cx="55001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</a:t>
              </a:r>
            </a:p>
          </p:txBody>
        </p:sp>
        <p:sp>
          <p:nvSpPr>
            <p:cNvPr id="19" name="Стрелка: вниз 29">
              <a:extLst>
                <a:ext uri="{FF2B5EF4-FFF2-40B4-BE49-F238E27FC236}">
                  <a16:creationId xmlns:a16="http://schemas.microsoft.com/office/drawing/2014/main" id="{4B123186-E73C-4132-AA7D-14DD1081BEE4}"/>
                </a:ext>
              </a:extLst>
            </p:cNvPr>
            <p:cNvSpPr/>
            <p:nvPr/>
          </p:nvSpPr>
          <p:spPr>
            <a:xfrm rot="13943733">
              <a:off x="1366399" y="4146922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5" name="Прямоугольник: скругленные углы 24">
            <a:extLst>
              <a:ext uri="{FF2B5EF4-FFF2-40B4-BE49-F238E27FC236}">
                <a16:creationId xmlns:a16="http://schemas.microsoft.com/office/drawing/2014/main" id="{4710AEA7-2FCB-411E-968E-71568F16F4FE}"/>
              </a:ext>
            </a:extLst>
          </p:cNvPr>
          <p:cNvSpPr/>
          <p:nvPr/>
        </p:nvSpPr>
        <p:spPr>
          <a:xfrm>
            <a:off x="1509666" y="4094839"/>
            <a:ext cx="586547" cy="162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612E8224-6E9A-4880-8E91-E9507F343EBC}"/>
              </a:ext>
            </a:extLst>
          </p:cNvPr>
          <p:cNvGrpSpPr/>
          <p:nvPr/>
        </p:nvGrpSpPr>
        <p:grpSpPr>
          <a:xfrm>
            <a:off x="8420914" y="1334666"/>
            <a:ext cx="3040959" cy="832691"/>
            <a:chOff x="7487224" y="946918"/>
            <a:chExt cx="3040959" cy="1369894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id="{3448A773-16DC-4846-96E0-756F99407AA3}"/>
                </a:ext>
              </a:extLst>
            </p:cNvPr>
            <p:cNvSpPr/>
            <p:nvPr/>
          </p:nvSpPr>
          <p:spPr>
            <a:xfrm>
              <a:off x="7487224" y="1195458"/>
              <a:ext cx="3040959" cy="1121354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A9CA8B3-E413-4C0D-9E98-AEBA5C7417E7}"/>
                </a:ext>
              </a:extLst>
            </p:cNvPr>
            <p:cNvSpPr txBox="1"/>
            <p:nvPr/>
          </p:nvSpPr>
          <p:spPr>
            <a:xfrm>
              <a:off x="7647393" y="946918"/>
              <a:ext cx="376051" cy="1015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6000" b="1" dirty="0">
                  <a:solidFill>
                    <a:srgbClr val="C00000"/>
                  </a:solidFill>
                </a:rPr>
                <a:t>!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7F1479D-BD17-4D2A-B612-EDBB99790AA8}"/>
                </a:ext>
              </a:extLst>
            </p:cNvPr>
            <p:cNvSpPr txBox="1"/>
            <p:nvPr/>
          </p:nvSpPr>
          <p:spPr>
            <a:xfrm>
              <a:off x="8089345" y="1131305"/>
              <a:ext cx="2340000" cy="5770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b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05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 необходимости необходимо скорректировать дату изменений</a:t>
              </a:r>
            </a:p>
          </p:txBody>
        </p:sp>
      </p:grpSp>
      <p:sp>
        <p:nvSpPr>
          <p:cNvPr id="30" name="Прямоугольник: скругленные углы 15">
            <a:extLst>
              <a:ext uri="{FF2B5EF4-FFF2-40B4-BE49-F238E27FC236}">
                <a16:creationId xmlns:a16="http://schemas.microsoft.com/office/drawing/2014/main" id="{3EDCA9B9-FB3B-44B4-90D5-7E0409EA3401}"/>
              </a:ext>
            </a:extLst>
          </p:cNvPr>
          <p:cNvSpPr/>
          <p:nvPr/>
        </p:nvSpPr>
        <p:spPr>
          <a:xfrm>
            <a:off x="7583946" y="2303619"/>
            <a:ext cx="4060833" cy="54408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7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им на вкладку «Инструментальная диагностика»</a:t>
            </a:r>
          </a:p>
        </p:txBody>
      </p:sp>
      <p:sp>
        <p:nvSpPr>
          <p:cNvPr id="33" name="Прямоугольник: скругленные углы 32">
            <a:extLst>
              <a:ext uri="{FF2B5EF4-FFF2-40B4-BE49-F238E27FC236}">
                <a16:creationId xmlns:a16="http://schemas.microsoft.com/office/drawing/2014/main" id="{70094378-55C2-4C1D-B0B6-2BCAB5B5E4B0}"/>
              </a:ext>
            </a:extLst>
          </p:cNvPr>
          <p:cNvSpPr/>
          <p:nvPr/>
        </p:nvSpPr>
        <p:spPr>
          <a:xfrm>
            <a:off x="2859740" y="4429862"/>
            <a:ext cx="4536000" cy="144000"/>
          </a:xfrm>
          <a:prstGeom prst="round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: скругленные углы 15">
            <a:extLst>
              <a:ext uri="{FF2B5EF4-FFF2-40B4-BE49-F238E27FC236}">
                <a16:creationId xmlns:a16="http://schemas.microsoft.com/office/drawing/2014/main" id="{C1232B81-CBEC-4D0B-B72E-4FA21AE238CA}"/>
              </a:ext>
            </a:extLst>
          </p:cNvPr>
          <p:cNvSpPr/>
          <p:nvPr/>
        </p:nvSpPr>
        <p:spPr>
          <a:xfrm>
            <a:off x="7583946" y="2989535"/>
            <a:ext cx="4060834" cy="63405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18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ть новую запись</a:t>
            </a:r>
          </a:p>
        </p:txBody>
      </p:sp>
      <p:sp>
        <p:nvSpPr>
          <p:cNvPr id="35" name="Прямоугольник: скругленные углы 15">
            <a:extLst>
              <a:ext uri="{FF2B5EF4-FFF2-40B4-BE49-F238E27FC236}">
                <a16:creationId xmlns:a16="http://schemas.microsoft.com/office/drawing/2014/main" id="{89D3CE68-6A27-48D6-AC19-6F8877A97C14}"/>
              </a:ext>
            </a:extLst>
          </p:cNvPr>
          <p:cNvSpPr/>
          <p:nvPr/>
        </p:nvSpPr>
        <p:spPr>
          <a:xfrm>
            <a:off x="7581979" y="4590137"/>
            <a:ext cx="4062800" cy="7885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Г 20</a:t>
            </a:r>
          </a:p>
          <a:p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ить выполненные элементы</a:t>
            </a:r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48C62CAF-55F2-4AFD-AD69-DDD7A35D229C}"/>
              </a:ext>
            </a:extLst>
          </p:cNvPr>
          <p:cNvGrpSpPr/>
          <p:nvPr/>
        </p:nvGrpSpPr>
        <p:grpSpPr>
          <a:xfrm>
            <a:off x="2544204" y="2031236"/>
            <a:ext cx="822897" cy="590718"/>
            <a:chOff x="3776143" y="3109518"/>
            <a:chExt cx="822897" cy="590718"/>
          </a:xfrm>
        </p:grpSpPr>
        <p:grpSp>
          <p:nvGrpSpPr>
            <p:cNvPr id="37" name="Группа 36">
              <a:extLst>
                <a:ext uri="{FF2B5EF4-FFF2-40B4-BE49-F238E27FC236}">
                  <a16:creationId xmlns:a16="http://schemas.microsoft.com/office/drawing/2014/main" id="{0C1786BC-68BD-4E46-8B59-D5CFD02C213F}"/>
                </a:ext>
              </a:extLst>
            </p:cNvPr>
            <p:cNvGrpSpPr/>
            <p:nvPr/>
          </p:nvGrpSpPr>
          <p:grpSpPr>
            <a:xfrm>
              <a:off x="3948800" y="3109518"/>
              <a:ext cx="650240" cy="590718"/>
              <a:chOff x="2045245" y="4063462"/>
              <a:chExt cx="650240" cy="590718"/>
            </a:xfrm>
          </p:grpSpPr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9268F323-AC51-441F-8FD5-9114575E8170}"/>
                  </a:ext>
                </a:extLst>
              </p:cNvPr>
              <p:cNvSpPr/>
              <p:nvPr/>
            </p:nvSpPr>
            <p:spPr>
              <a:xfrm>
                <a:off x="2045245" y="4063462"/>
                <a:ext cx="650240" cy="590718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F6F2964E-5942-46C6-B789-CCB93088F712}"/>
                  </a:ext>
                </a:extLst>
              </p:cNvPr>
              <p:cNvSpPr txBox="1"/>
              <p:nvPr/>
            </p:nvSpPr>
            <p:spPr>
              <a:xfrm>
                <a:off x="2151154" y="4182756"/>
                <a:ext cx="460540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</a:t>
                </a:r>
              </a:p>
            </p:txBody>
          </p:sp>
        </p:grpSp>
        <p:sp>
          <p:nvSpPr>
            <p:cNvPr id="38" name="Стрелка: вниз 29">
              <a:extLst>
                <a:ext uri="{FF2B5EF4-FFF2-40B4-BE49-F238E27FC236}">
                  <a16:creationId xmlns:a16="http://schemas.microsoft.com/office/drawing/2014/main" id="{A528193B-0789-403F-A6EB-14CF0A45A566}"/>
                </a:ext>
              </a:extLst>
            </p:cNvPr>
            <p:cNvSpPr/>
            <p:nvPr/>
          </p:nvSpPr>
          <p:spPr>
            <a:xfrm rot="4467541">
              <a:off x="3867486" y="3316316"/>
              <a:ext cx="137214" cy="319899"/>
            </a:xfrm>
            <a:prstGeom prst="downArrow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1" name="Номер слайда 10">
            <a:extLst>
              <a:ext uri="{FF2B5EF4-FFF2-40B4-BE49-F238E27FC236}">
                <a16:creationId xmlns:a16="http://schemas.microsoft.com/office/drawing/2014/main" id="{E40B6AF3-DF4B-46FC-B12B-F16A2C2E794E}"/>
              </a:ext>
            </a:extLst>
          </p:cNvPr>
          <p:cNvSpPr txBox="1">
            <a:spLocks/>
          </p:cNvSpPr>
          <p:nvPr/>
        </p:nvSpPr>
        <p:spPr>
          <a:xfrm>
            <a:off x="9296400" y="642563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242F335-7976-4CDA-A592-2CBE9F9A773B}" type="slidenum">
              <a:rPr lang="ru-RU" smtClean="0"/>
              <a:pPr algn="r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3842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510</TotalTime>
  <Words>324</Words>
  <Application>Microsoft Office PowerPoint</Application>
  <PresentationFormat>Широкоэкранный</PresentationFormat>
  <Paragraphs>88</Paragraphs>
  <Slides>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3" baseType="lpstr">
      <vt:lpstr>Montserrat</vt:lpstr>
      <vt:lpstr>Arial</vt:lpstr>
      <vt:lpstr>Calibri</vt:lpstr>
      <vt:lpstr>HeliosCondC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esya Dvorak</dc:creator>
  <cp:lastModifiedBy>S8Ap95x S8Ap95x</cp:lastModifiedBy>
  <cp:revision>980</cp:revision>
  <cp:lastPrinted>2020-04-17T06:55:34Z</cp:lastPrinted>
  <dcterms:created xsi:type="dcterms:W3CDTF">2019-06-12T19:36:33Z</dcterms:created>
  <dcterms:modified xsi:type="dcterms:W3CDTF">2021-01-30T19:26:28Z</dcterms:modified>
</cp:coreProperties>
</file>